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76" r:id="rId2"/>
    <p:sldId id="277" r:id="rId3"/>
    <p:sldId id="279" r:id="rId4"/>
    <p:sldId id="290" r:id="rId5"/>
    <p:sldId id="281" r:id="rId6"/>
    <p:sldId id="285" r:id="rId7"/>
    <p:sldId id="278" r:id="rId8"/>
  </p:sldIdLst>
  <p:sldSz cx="12188825" cy="6858000"/>
  <p:notesSz cx="6858000" cy="91440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8E8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3"/>
    <p:restoredTop sz="95907" autoAdjust="0"/>
  </p:normalViewPr>
  <p:slideViewPr>
    <p:cSldViewPr>
      <p:cViewPr>
        <p:scale>
          <a:sx n="66" d="100"/>
          <a:sy n="66" d="100"/>
        </p:scale>
        <p:origin x="48" y="48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88F7-1FAC-40D2-BB7E-BA3CE28D8950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2D21D1-52E2-420B-B491-CFF6D7BB79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8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-263525" y="207963"/>
            <a:ext cx="7842250" cy="4413250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869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12188825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3887117"/>
            <a:ext cx="10360501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4399020"/>
            <a:ext cx="853217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4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81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14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158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39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39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22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531" y="433515"/>
            <a:ext cx="10817582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531" y="980101"/>
            <a:ext cx="10817582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911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23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170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8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99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9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138425"/>
            <a:ext cx="10969943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30/0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50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2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77" r:id="rId14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2.xml"/><Relationship Id="rId16" Type="http://schemas.openxmlformats.org/officeDocument/2006/relationships/image" Target="../media/image12.sv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reeform 11"/>
          <p:cNvSpPr>
            <a:spLocks/>
          </p:cNvSpPr>
          <p:nvPr/>
        </p:nvSpPr>
        <p:spPr bwMode="auto">
          <a:xfrm>
            <a:off x="0" y="0"/>
            <a:ext cx="12188825" cy="6858000"/>
          </a:xfrm>
          <a:custGeom>
            <a:avLst/>
            <a:gdLst>
              <a:gd name="T0" fmla="*/ 0 w 6334"/>
              <a:gd name="T1" fmla="*/ 0 h 3390"/>
              <a:gd name="T2" fmla="*/ 6334 w 6334"/>
              <a:gd name="T3" fmla="*/ 0 h 3390"/>
              <a:gd name="T4" fmla="*/ 6015 w 6334"/>
              <a:gd name="T5" fmla="*/ 2983 h 3390"/>
              <a:gd name="T6" fmla="*/ 6004 w 6334"/>
              <a:gd name="T7" fmla="*/ 3046 h 3390"/>
              <a:gd name="T8" fmla="*/ 5985 w 6334"/>
              <a:gd name="T9" fmla="*/ 3110 h 3390"/>
              <a:gd name="T10" fmla="*/ 5956 w 6334"/>
              <a:gd name="T11" fmla="*/ 3167 h 3390"/>
              <a:gd name="T12" fmla="*/ 5919 w 6334"/>
              <a:gd name="T13" fmla="*/ 3221 h 3390"/>
              <a:gd name="T14" fmla="*/ 5877 w 6334"/>
              <a:gd name="T15" fmla="*/ 3269 h 3390"/>
              <a:gd name="T16" fmla="*/ 5844 w 6334"/>
              <a:gd name="T17" fmla="*/ 3296 h 3390"/>
              <a:gd name="T18" fmla="*/ 5810 w 6334"/>
              <a:gd name="T19" fmla="*/ 3321 h 3390"/>
              <a:gd name="T20" fmla="*/ 5769 w 6334"/>
              <a:gd name="T21" fmla="*/ 3344 h 3390"/>
              <a:gd name="T22" fmla="*/ 5725 w 6334"/>
              <a:gd name="T23" fmla="*/ 3363 h 3390"/>
              <a:gd name="T24" fmla="*/ 5675 w 6334"/>
              <a:gd name="T25" fmla="*/ 3377 h 3390"/>
              <a:gd name="T26" fmla="*/ 5622 w 6334"/>
              <a:gd name="T27" fmla="*/ 3386 h 3390"/>
              <a:gd name="T28" fmla="*/ 5562 w 6334"/>
              <a:gd name="T29" fmla="*/ 3390 h 3390"/>
              <a:gd name="T30" fmla="*/ 0 w 6334"/>
              <a:gd name="T31" fmla="*/ 3390 h 3390"/>
              <a:gd name="T32" fmla="*/ 0 w 6334"/>
              <a:gd name="T33" fmla="*/ 0 h 3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34" h="3390">
                <a:moveTo>
                  <a:pt x="0" y="0"/>
                </a:moveTo>
                <a:lnTo>
                  <a:pt x="6334" y="0"/>
                </a:lnTo>
                <a:lnTo>
                  <a:pt x="6015" y="2983"/>
                </a:lnTo>
                <a:lnTo>
                  <a:pt x="6004" y="3046"/>
                </a:lnTo>
                <a:lnTo>
                  <a:pt x="5985" y="3110"/>
                </a:lnTo>
                <a:lnTo>
                  <a:pt x="5956" y="3167"/>
                </a:lnTo>
                <a:lnTo>
                  <a:pt x="5919" y="3221"/>
                </a:lnTo>
                <a:lnTo>
                  <a:pt x="5877" y="3269"/>
                </a:lnTo>
                <a:lnTo>
                  <a:pt x="5844" y="3296"/>
                </a:lnTo>
                <a:lnTo>
                  <a:pt x="5810" y="3321"/>
                </a:lnTo>
                <a:lnTo>
                  <a:pt x="5769" y="3344"/>
                </a:lnTo>
                <a:lnTo>
                  <a:pt x="5725" y="3363"/>
                </a:lnTo>
                <a:lnTo>
                  <a:pt x="5675" y="3377"/>
                </a:lnTo>
                <a:lnTo>
                  <a:pt x="5622" y="3386"/>
                </a:lnTo>
                <a:lnTo>
                  <a:pt x="5562" y="3390"/>
                </a:lnTo>
                <a:lnTo>
                  <a:pt x="0" y="339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39" name="Group 38"/>
          <p:cNvGrpSpPr/>
          <p:nvPr/>
        </p:nvGrpSpPr>
        <p:grpSpPr>
          <a:xfrm>
            <a:off x="5225796" y="1469354"/>
            <a:ext cx="6629256" cy="2215991"/>
            <a:chOff x="5153468" y="1391992"/>
            <a:chExt cx="5844516" cy="2215991"/>
          </a:xfrm>
        </p:grpSpPr>
        <p:sp>
          <p:nvSpPr>
            <p:cNvPr id="4" name="TextBox 3"/>
            <p:cNvSpPr txBox="1"/>
            <p:nvPr/>
          </p:nvSpPr>
          <p:spPr>
            <a:xfrm>
              <a:off x="5660257" y="1391992"/>
              <a:ext cx="5024998" cy="22159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0" bIns="0" rtlCol="0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IN" sz="6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nabling Business Agility </a:t>
              </a: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5153468" y="1398262"/>
              <a:ext cx="5495925" cy="2203450"/>
            </a:xfrm>
            <a:custGeom>
              <a:avLst/>
              <a:gdLst>
                <a:gd name="T0" fmla="*/ 0 w 3462"/>
                <a:gd name="T1" fmla="*/ 0 h 1388"/>
                <a:gd name="T2" fmla="*/ 3462 w 3462"/>
                <a:gd name="T3" fmla="*/ 0 h 1388"/>
                <a:gd name="T4" fmla="*/ 3462 w 3462"/>
                <a:gd name="T5" fmla="*/ 294 h 1388"/>
                <a:gd name="T6" fmla="*/ 3382 w 3462"/>
                <a:gd name="T7" fmla="*/ 294 h 1388"/>
                <a:gd name="T8" fmla="*/ 3382 w 3462"/>
                <a:gd name="T9" fmla="*/ 80 h 1388"/>
                <a:gd name="T10" fmla="*/ 80 w 3462"/>
                <a:gd name="T11" fmla="*/ 80 h 1388"/>
                <a:gd name="T12" fmla="*/ 80 w 3462"/>
                <a:gd name="T13" fmla="*/ 1308 h 1388"/>
                <a:gd name="T14" fmla="*/ 3382 w 3462"/>
                <a:gd name="T15" fmla="*/ 1308 h 1388"/>
                <a:gd name="T16" fmla="*/ 3382 w 3462"/>
                <a:gd name="T17" fmla="*/ 1094 h 1388"/>
                <a:gd name="T18" fmla="*/ 3462 w 3462"/>
                <a:gd name="T19" fmla="*/ 1094 h 1388"/>
                <a:gd name="T20" fmla="*/ 3462 w 3462"/>
                <a:gd name="T21" fmla="*/ 1388 h 1388"/>
                <a:gd name="T22" fmla="*/ 0 w 3462"/>
                <a:gd name="T23" fmla="*/ 1388 h 1388"/>
                <a:gd name="T24" fmla="*/ 0 w 3462"/>
                <a:gd name="T25" fmla="*/ 0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2" h="1388">
                  <a:moveTo>
                    <a:pt x="0" y="0"/>
                  </a:moveTo>
                  <a:lnTo>
                    <a:pt x="3462" y="0"/>
                  </a:lnTo>
                  <a:lnTo>
                    <a:pt x="3462" y="294"/>
                  </a:lnTo>
                  <a:lnTo>
                    <a:pt x="3382" y="294"/>
                  </a:lnTo>
                  <a:lnTo>
                    <a:pt x="3382" y="80"/>
                  </a:lnTo>
                  <a:lnTo>
                    <a:pt x="80" y="80"/>
                  </a:lnTo>
                  <a:lnTo>
                    <a:pt x="80" y="1308"/>
                  </a:lnTo>
                  <a:lnTo>
                    <a:pt x="3382" y="1308"/>
                  </a:lnTo>
                  <a:lnTo>
                    <a:pt x="3382" y="1094"/>
                  </a:lnTo>
                  <a:lnTo>
                    <a:pt x="3462" y="1094"/>
                  </a:lnTo>
                  <a:lnTo>
                    <a:pt x="3462" y="1388"/>
                  </a:lnTo>
                  <a:lnTo>
                    <a:pt x="0" y="13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0180076" y="2091033"/>
              <a:ext cx="817908" cy="817908"/>
              <a:chOff x="2025959" y="1916832"/>
              <a:chExt cx="1224136" cy="1224136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2494010" y="1916832"/>
                <a:ext cx="288034" cy="12241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" name="Rectangle 12"/>
              <p:cNvSpPr/>
              <p:nvPr/>
            </p:nvSpPr>
            <p:spPr>
              <a:xfrm rot="5400000">
                <a:off x="2494010" y="1916832"/>
                <a:ext cx="288034" cy="12241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17" name="TextBox 16"/>
          <p:cNvSpPr txBox="1"/>
          <p:nvPr/>
        </p:nvSpPr>
        <p:spPr>
          <a:xfrm>
            <a:off x="5225796" y="3861048"/>
            <a:ext cx="54053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nerating new business Revenue with existing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68641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-14990" y="1289968"/>
            <a:ext cx="12205231" cy="3686768"/>
          </a:xfrm>
          <a:prstGeom prst="rect">
            <a:avLst/>
          </a:prstGeom>
          <a:gradFill>
            <a:gsLst>
              <a:gs pos="100000">
                <a:schemeClr val="accent4">
                  <a:lumMod val="75000"/>
                </a:schemeClr>
              </a:gs>
              <a:gs pos="0">
                <a:schemeClr val="accent5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</p:spPr>
        <p:txBody>
          <a:bodyPr/>
          <a:lstStyle/>
          <a:p>
            <a:r>
              <a:rPr lang="en-I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ENDA</a:t>
            </a:r>
          </a:p>
        </p:txBody>
      </p:sp>
      <p:sp>
        <p:nvSpPr>
          <p:cNvPr id="82" name="Rounded Rectangle 81"/>
          <p:cNvSpPr/>
          <p:nvPr/>
        </p:nvSpPr>
        <p:spPr>
          <a:xfrm>
            <a:off x="1245902" y="1862756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3" name="Rounded Rectangle 82"/>
          <p:cNvSpPr/>
          <p:nvPr/>
        </p:nvSpPr>
        <p:spPr>
          <a:xfrm>
            <a:off x="1245902" y="3278960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85" name="Group 84"/>
          <p:cNvGrpSpPr/>
          <p:nvPr/>
        </p:nvGrpSpPr>
        <p:grpSpPr>
          <a:xfrm>
            <a:off x="2614054" y="1916034"/>
            <a:ext cx="3312368" cy="917952"/>
            <a:chOff x="2494012" y="1702274"/>
            <a:chExt cx="3312368" cy="917952"/>
          </a:xfrm>
        </p:grpSpPr>
        <p:sp>
          <p:nvSpPr>
            <p:cNvPr id="86" name="TextBox 85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nderstand where the industry is demanding for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urrent Trends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2614054" y="3316574"/>
            <a:ext cx="3312368" cy="917952"/>
            <a:chOff x="2494012" y="1702274"/>
            <a:chExt cx="3312368" cy="917952"/>
          </a:xfrm>
        </p:grpSpPr>
        <p:sp>
          <p:nvSpPr>
            <p:cNvPr id="89" name="TextBox 88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ocus on areas where it provides business outcome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olution and value proposition</a:t>
              </a:r>
            </a:p>
          </p:txBody>
        </p:sp>
      </p:grpSp>
      <p:sp>
        <p:nvSpPr>
          <p:cNvPr id="94" name="Rounded Rectangle 93"/>
          <p:cNvSpPr/>
          <p:nvPr/>
        </p:nvSpPr>
        <p:spPr>
          <a:xfrm>
            <a:off x="6262402" y="1862756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5" name="Rounded Rectangle 94"/>
          <p:cNvSpPr/>
          <p:nvPr/>
        </p:nvSpPr>
        <p:spPr>
          <a:xfrm>
            <a:off x="6262402" y="3278960"/>
            <a:ext cx="1024508" cy="102450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97" name="Group 96"/>
          <p:cNvGrpSpPr/>
          <p:nvPr/>
        </p:nvGrpSpPr>
        <p:grpSpPr>
          <a:xfrm>
            <a:off x="7630554" y="1916034"/>
            <a:ext cx="3312368" cy="702509"/>
            <a:chOff x="2494012" y="1702274"/>
            <a:chExt cx="3312368" cy="702509"/>
          </a:xfrm>
        </p:grpSpPr>
        <p:sp>
          <p:nvSpPr>
            <p:cNvPr id="98" name="TextBox 97"/>
            <p:cNvSpPr txBox="1"/>
            <p:nvPr/>
          </p:nvSpPr>
          <p:spPr>
            <a:xfrm>
              <a:off x="2494012" y="2097006"/>
              <a:ext cx="33123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High Level walkthrough of the solution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se Case Walkthrough</a:t>
              </a: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7630554" y="3316574"/>
            <a:ext cx="3312368" cy="917952"/>
            <a:chOff x="2494012" y="1702274"/>
            <a:chExt cx="3312368" cy="917952"/>
          </a:xfrm>
        </p:grpSpPr>
        <p:sp>
          <p:nvSpPr>
            <p:cNvPr id="101" name="TextBox 100"/>
            <p:cNvSpPr txBox="1"/>
            <p:nvPr/>
          </p:nvSpPr>
          <p:spPr>
            <a:xfrm>
              <a:off x="2494012" y="2097006"/>
              <a:ext cx="33123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ample Use Case Demonstration, including architecture walkthrough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2494012" y="1702274"/>
              <a:ext cx="3312368" cy="3693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sz="18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se Case Demonstration</a:t>
              </a:r>
            </a:p>
          </p:txBody>
        </p:sp>
      </p:grpSp>
      <p:sp>
        <p:nvSpPr>
          <p:cNvPr id="121" name="Freeform 23"/>
          <p:cNvSpPr>
            <a:spLocks/>
          </p:cNvSpPr>
          <p:nvPr/>
        </p:nvSpPr>
        <p:spPr bwMode="auto">
          <a:xfrm>
            <a:off x="1424467" y="2121542"/>
            <a:ext cx="667379" cy="506937"/>
          </a:xfrm>
          <a:custGeom>
            <a:avLst/>
            <a:gdLst>
              <a:gd name="T0" fmla="*/ 2815 w 5524"/>
              <a:gd name="T1" fmla="*/ 2 h 4196"/>
              <a:gd name="T2" fmla="*/ 2888 w 5524"/>
              <a:gd name="T3" fmla="*/ 29 h 4196"/>
              <a:gd name="T4" fmla="*/ 2943 w 5524"/>
              <a:gd name="T5" fmla="*/ 79 h 4196"/>
              <a:gd name="T6" fmla="*/ 2978 w 5524"/>
              <a:gd name="T7" fmla="*/ 150 h 4196"/>
              <a:gd name="T8" fmla="*/ 3806 w 5524"/>
              <a:gd name="T9" fmla="*/ 1049 h 4196"/>
              <a:gd name="T10" fmla="*/ 3852 w 5524"/>
              <a:gd name="T11" fmla="*/ 984 h 4196"/>
              <a:gd name="T12" fmla="*/ 3917 w 5524"/>
              <a:gd name="T13" fmla="*/ 942 h 4196"/>
              <a:gd name="T14" fmla="*/ 3996 w 5524"/>
              <a:gd name="T15" fmla="*/ 927 h 4196"/>
              <a:gd name="T16" fmla="*/ 4073 w 5524"/>
              <a:gd name="T17" fmla="*/ 945 h 4196"/>
              <a:gd name="T18" fmla="*/ 4137 w 5524"/>
              <a:gd name="T19" fmla="*/ 991 h 4196"/>
              <a:gd name="T20" fmla="*/ 4179 w 5524"/>
              <a:gd name="T21" fmla="*/ 1058 h 4196"/>
              <a:gd name="T22" fmla="*/ 5324 w 5524"/>
              <a:gd name="T23" fmla="*/ 2133 h 4196"/>
              <a:gd name="T24" fmla="*/ 5401 w 5524"/>
              <a:gd name="T25" fmla="*/ 2149 h 4196"/>
              <a:gd name="T26" fmla="*/ 5465 w 5524"/>
              <a:gd name="T27" fmla="*/ 2192 h 4196"/>
              <a:gd name="T28" fmla="*/ 5509 w 5524"/>
              <a:gd name="T29" fmla="*/ 2256 h 4196"/>
              <a:gd name="T30" fmla="*/ 5524 w 5524"/>
              <a:gd name="T31" fmla="*/ 2335 h 4196"/>
              <a:gd name="T32" fmla="*/ 5509 w 5524"/>
              <a:gd name="T33" fmla="*/ 2412 h 4196"/>
              <a:gd name="T34" fmla="*/ 5465 w 5524"/>
              <a:gd name="T35" fmla="*/ 2476 h 4196"/>
              <a:gd name="T36" fmla="*/ 5401 w 5524"/>
              <a:gd name="T37" fmla="*/ 2519 h 4196"/>
              <a:gd name="T38" fmla="*/ 5324 w 5524"/>
              <a:gd name="T39" fmla="*/ 2535 h 4196"/>
              <a:gd name="T40" fmla="*/ 4398 w 5524"/>
              <a:gd name="T41" fmla="*/ 2531 h 4196"/>
              <a:gd name="T42" fmla="*/ 4325 w 5524"/>
              <a:gd name="T43" fmla="*/ 2499 h 4196"/>
              <a:gd name="T44" fmla="*/ 4269 w 5524"/>
              <a:gd name="T45" fmla="*/ 2442 h 4196"/>
              <a:gd name="T46" fmla="*/ 3978 w 5524"/>
              <a:gd name="T47" fmla="*/ 1669 h 4196"/>
              <a:gd name="T48" fmla="*/ 3565 w 5524"/>
              <a:gd name="T49" fmla="*/ 2622 h 4196"/>
              <a:gd name="T50" fmla="*/ 3505 w 5524"/>
              <a:gd name="T51" fmla="*/ 2677 h 4196"/>
              <a:gd name="T52" fmla="*/ 3429 w 5524"/>
              <a:gd name="T53" fmla="*/ 2704 h 4196"/>
              <a:gd name="T54" fmla="*/ 3345 w 5524"/>
              <a:gd name="T55" fmla="*/ 2699 h 4196"/>
              <a:gd name="T56" fmla="*/ 3273 w 5524"/>
              <a:gd name="T57" fmla="*/ 2660 h 4196"/>
              <a:gd name="T58" fmla="*/ 3223 w 5524"/>
              <a:gd name="T59" fmla="*/ 2597 h 4196"/>
              <a:gd name="T60" fmla="*/ 2815 w 5524"/>
              <a:gd name="T61" fmla="*/ 1096 h 4196"/>
              <a:gd name="T62" fmla="*/ 2240 w 5524"/>
              <a:gd name="T63" fmla="*/ 4070 h 4196"/>
              <a:gd name="T64" fmla="*/ 2198 w 5524"/>
              <a:gd name="T65" fmla="*/ 4134 h 4196"/>
              <a:gd name="T66" fmla="*/ 2135 w 5524"/>
              <a:gd name="T67" fmla="*/ 4177 h 4196"/>
              <a:gd name="T68" fmla="*/ 2059 w 5524"/>
              <a:gd name="T69" fmla="*/ 4196 h 4196"/>
              <a:gd name="T70" fmla="*/ 2016 w 5524"/>
              <a:gd name="T71" fmla="*/ 4191 h 4196"/>
              <a:gd name="T72" fmla="*/ 1945 w 5524"/>
              <a:gd name="T73" fmla="*/ 4164 h 4196"/>
              <a:gd name="T74" fmla="*/ 1892 w 5524"/>
              <a:gd name="T75" fmla="*/ 4112 h 4196"/>
              <a:gd name="T76" fmla="*/ 1860 w 5524"/>
              <a:gd name="T77" fmla="*/ 4043 h 4196"/>
              <a:gd name="T78" fmla="*/ 1288 w 5524"/>
              <a:gd name="T79" fmla="*/ 2519 h 4196"/>
              <a:gd name="T80" fmla="*/ 1244 w 5524"/>
              <a:gd name="T81" fmla="*/ 2588 h 4196"/>
              <a:gd name="T82" fmla="*/ 1179 w 5524"/>
              <a:gd name="T83" fmla="*/ 2634 h 4196"/>
              <a:gd name="T84" fmla="*/ 1100 w 5524"/>
              <a:gd name="T85" fmla="*/ 2650 h 4196"/>
              <a:gd name="T86" fmla="*/ 161 w 5524"/>
              <a:gd name="T87" fmla="*/ 2645 h 4196"/>
              <a:gd name="T88" fmla="*/ 89 w 5524"/>
              <a:gd name="T89" fmla="*/ 2615 h 4196"/>
              <a:gd name="T90" fmla="*/ 34 w 5524"/>
              <a:gd name="T91" fmla="*/ 2561 h 4196"/>
              <a:gd name="T92" fmla="*/ 3 w 5524"/>
              <a:gd name="T93" fmla="*/ 2489 h 4196"/>
              <a:gd name="T94" fmla="*/ 3 w 5524"/>
              <a:gd name="T95" fmla="*/ 2409 h 4196"/>
              <a:gd name="T96" fmla="*/ 34 w 5524"/>
              <a:gd name="T97" fmla="*/ 2336 h 4196"/>
              <a:gd name="T98" fmla="*/ 89 w 5524"/>
              <a:gd name="T99" fmla="*/ 2283 h 4196"/>
              <a:gd name="T100" fmla="*/ 161 w 5524"/>
              <a:gd name="T101" fmla="*/ 2253 h 4196"/>
              <a:gd name="T102" fmla="*/ 961 w 5524"/>
              <a:gd name="T103" fmla="*/ 2248 h 4196"/>
              <a:gd name="T104" fmla="*/ 1268 w 5524"/>
              <a:gd name="T105" fmla="*/ 1440 h 4196"/>
              <a:gd name="T106" fmla="*/ 1326 w 5524"/>
              <a:gd name="T107" fmla="*/ 1382 h 4196"/>
              <a:gd name="T108" fmla="*/ 1404 w 5524"/>
              <a:gd name="T109" fmla="*/ 1351 h 4196"/>
              <a:gd name="T110" fmla="*/ 1491 w 5524"/>
              <a:gd name="T111" fmla="*/ 1356 h 4196"/>
              <a:gd name="T112" fmla="*/ 1565 w 5524"/>
              <a:gd name="T113" fmla="*/ 1395 h 4196"/>
              <a:gd name="T114" fmla="*/ 1617 w 5524"/>
              <a:gd name="T115" fmla="*/ 1460 h 4196"/>
              <a:gd name="T116" fmla="*/ 2027 w 5524"/>
              <a:gd name="T117" fmla="*/ 3070 h 4196"/>
              <a:gd name="T118" fmla="*/ 2597 w 5524"/>
              <a:gd name="T119" fmla="*/ 125 h 4196"/>
              <a:gd name="T120" fmla="*/ 2639 w 5524"/>
              <a:gd name="T121" fmla="*/ 61 h 4196"/>
              <a:gd name="T122" fmla="*/ 2701 w 5524"/>
              <a:gd name="T123" fmla="*/ 17 h 4196"/>
              <a:gd name="T124" fmla="*/ 2777 w 5524"/>
              <a:gd name="T125" fmla="*/ 0 h 4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524" h="4196">
                <a:moveTo>
                  <a:pt x="2777" y="0"/>
                </a:moveTo>
                <a:lnTo>
                  <a:pt x="2815" y="2"/>
                </a:lnTo>
                <a:lnTo>
                  <a:pt x="2852" y="12"/>
                </a:lnTo>
                <a:lnTo>
                  <a:pt x="2888" y="29"/>
                </a:lnTo>
                <a:lnTo>
                  <a:pt x="2918" y="51"/>
                </a:lnTo>
                <a:lnTo>
                  <a:pt x="2943" y="79"/>
                </a:lnTo>
                <a:lnTo>
                  <a:pt x="2965" y="113"/>
                </a:lnTo>
                <a:lnTo>
                  <a:pt x="2978" y="150"/>
                </a:lnTo>
                <a:lnTo>
                  <a:pt x="3444" y="1892"/>
                </a:lnTo>
                <a:lnTo>
                  <a:pt x="3806" y="1049"/>
                </a:lnTo>
                <a:lnTo>
                  <a:pt x="3827" y="1014"/>
                </a:lnTo>
                <a:lnTo>
                  <a:pt x="3852" y="984"/>
                </a:lnTo>
                <a:lnTo>
                  <a:pt x="3882" y="959"/>
                </a:lnTo>
                <a:lnTo>
                  <a:pt x="3917" y="942"/>
                </a:lnTo>
                <a:lnTo>
                  <a:pt x="3956" y="930"/>
                </a:lnTo>
                <a:lnTo>
                  <a:pt x="3996" y="927"/>
                </a:lnTo>
                <a:lnTo>
                  <a:pt x="4036" y="932"/>
                </a:lnTo>
                <a:lnTo>
                  <a:pt x="4073" y="945"/>
                </a:lnTo>
                <a:lnTo>
                  <a:pt x="4108" y="965"/>
                </a:lnTo>
                <a:lnTo>
                  <a:pt x="4137" y="991"/>
                </a:lnTo>
                <a:lnTo>
                  <a:pt x="4162" y="1022"/>
                </a:lnTo>
                <a:lnTo>
                  <a:pt x="4179" y="1058"/>
                </a:lnTo>
                <a:lnTo>
                  <a:pt x="4580" y="2133"/>
                </a:lnTo>
                <a:lnTo>
                  <a:pt x="5324" y="2133"/>
                </a:lnTo>
                <a:lnTo>
                  <a:pt x="5364" y="2137"/>
                </a:lnTo>
                <a:lnTo>
                  <a:pt x="5401" y="2149"/>
                </a:lnTo>
                <a:lnTo>
                  <a:pt x="5436" y="2167"/>
                </a:lnTo>
                <a:lnTo>
                  <a:pt x="5465" y="2192"/>
                </a:lnTo>
                <a:lnTo>
                  <a:pt x="5490" y="2222"/>
                </a:lnTo>
                <a:lnTo>
                  <a:pt x="5509" y="2256"/>
                </a:lnTo>
                <a:lnTo>
                  <a:pt x="5520" y="2295"/>
                </a:lnTo>
                <a:lnTo>
                  <a:pt x="5524" y="2335"/>
                </a:lnTo>
                <a:lnTo>
                  <a:pt x="5520" y="2375"/>
                </a:lnTo>
                <a:lnTo>
                  <a:pt x="5509" y="2412"/>
                </a:lnTo>
                <a:lnTo>
                  <a:pt x="5490" y="2447"/>
                </a:lnTo>
                <a:lnTo>
                  <a:pt x="5465" y="2476"/>
                </a:lnTo>
                <a:lnTo>
                  <a:pt x="5436" y="2501"/>
                </a:lnTo>
                <a:lnTo>
                  <a:pt x="5401" y="2519"/>
                </a:lnTo>
                <a:lnTo>
                  <a:pt x="5364" y="2531"/>
                </a:lnTo>
                <a:lnTo>
                  <a:pt x="5324" y="2535"/>
                </a:lnTo>
                <a:lnTo>
                  <a:pt x="4440" y="2535"/>
                </a:lnTo>
                <a:lnTo>
                  <a:pt x="4398" y="2531"/>
                </a:lnTo>
                <a:lnTo>
                  <a:pt x="4360" y="2519"/>
                </a:lnTo>
                <a:lnTo>
                  <a:pt x="4325" y="2499"/>
                </a:lnTo>
                <a:lnTo>
                  <a:pt x="4294" y="2474"/>
                </a:lnTo>
                <a:lnTo>
                  <a:pt x="4269" y="2442"/>
                </a:lnTo>
                <a:lnTo>
                  <a:pt x="4253" y="2405"/>
                </a:lnTo>
                <a:lnTo>
                  <a:pt x="3978" y="1669"/>
                </a:lnTo>
                <a:lnTo>
                  <a:pt x="3587" y="2585"/>
                </a:lnTo>
                <a:lnTo>
                  <a:pt x="3565" y="2622"/>
                </a:lnTo>
                <a:lnTo>
                  <a:pt x="3538" y="2652"/>
                </a:lnTo>
                <a:lnTo>
                  <a:pt x="3505" y="2677"/>
                </a:lnTo>
                <a:lnTo>
                  <a:pt x="3468" y="2694"/>
                </a:lnTo>
                <a:lnTo>
                  <a:pt x="3429" y="2704"/>
                </a:lnTo>
                <a:lnTo>
                  <a:pt x="3387" y="2706"/>
                </a:lnTo>
                <a:lnTo>
                  <a:pt x="3345" y="2699"/>
                </a:lnTo>
                <a:lnTo>
                  <a:pt x="3307" y="2682"/>
                </a:lnTo>
                <a:lnTo>
                  <a:pt x="3273" y="2660"/>
                </a:lnTo>
                <a:lnTo>
                  <a:pt x="3245" y="2630"/>
                </a:lnTo>
                <a:lnTo>
                  <a:pt x="3223" y="2597"/>
                </a:lnTo>
                <a:lnTo>
                  <a:pt x="3208" y="2556"/>
                </a:lnTo>
                <a:lnTo>
                  <a:pt x="2815" y="1096"/>
                </a:lnTo>
                <a:lnTo>
                  <a:pt x="2250" y="4033"/>
                </a:lnTo>
                <a:lnTo>
                  <a:pt x="2240" y="4070"/>
                </a:lnTo>
                <a:lnTo>
                  <a:pt x="2222" y="4105"/>
                </a:lnTo>
                <a:lnTo>
                  <a:pt x="2198" y="4134"/>
                </a:lnTo>
                <a:lnTo>
                  <a:pt x="2168" y="4159"/>
                </a:lnTo>
                <a:lnTo>
                  <a:pt x="2135" y="4177"/>
                </a:lnTo>
                <a:lnTo>
                  <a:pt x="2099" y="4191"/>
                </a:lnTo>
                <a:lnTo>
                  <a:pt x="2059" y="4196"/>
                </a:lnTo>
                <a:lnTo>
                  <a:pt x="2054" y="4196"/>
                </a:lnTo>
                <a:lnTo>
                  <a:pt x="2016" y="4191"/>
                </a:lnTo>
                <a:lnTo>
                  <a:pt x="1979" y="4181"/>
                </a:lnTo>
                <a:lnTo>
                  <a:pt x="1945" y="4164"/>
                </a:lnTo>
                <a:lnTo>
                  <a:pt x="1917" y="4141"/>
                </a:lnTo>
                <a:lnTo>
                  <a:pt x="1892" y="4112"/>
                </a:lnTo>
                <a:lnTo>
                  <a:pt x="1871" y="4080"/>
                </a:lnTo>
                <a:lnTo>
                  <a:pt x="1860" y="4043"/>
                </a:lnTo>
                <a:lnTo>
                  <a:pt x="1399" y="2222"/>
                </a:lnTo>
                <a:lnTo>
                  <a:pt x="1288" y="2519"/>
                </a:lnTo>
                <a:lnTo>
                  <a:pt x="1269" y="2556"/>
                </a:lnTo>
                <a:lnTo>
                  <a:pt x="1244" y="2588"/>
                </a:lnTo>
                <a:lnTo>
                  <a:pt x="1214" y="2613"/>
                </a:lnTo>
                <a:lnTo>
                  <a:pt x="1179" y="2634"/>
                </a:lnTo>
                <a:lnTo>
                  <a:pt x="1140" y="2645"/>
                </a:lnTo>
                <a:lnTo>
                  <a:pt x="1100" y="2650"/>
                </a:lnTo>
                <a:lnTo>
                  <a:pt x="201" y="2650"/>
                </a:lnTo>
                <a:lnTo>
                  <a:pt x="161" y="2645"/>
                </a:lnTo>
                <a:lnTo>
                  <a:pt x="122" y="2634"/>
                </a:lnTo>
                <a:lnTo>
                  <a:pt x="89" y="2615"/>
                </a:lnTo>
                <a:lnTo>
                  <a:pt x="59" y="2592"/>
                </a:lnTo>
                <a:lnTo>
                  <a:pt x="34" y="2561"/>
                </a:lnTo>
                <a:lnTo>
                  <a:pt x="15" y="2528"/>
                </a:lnTo>
                <a:lnTo>
                  <a:pt x="3" y="2489"/>
                </a:lnTo>
                <a:lnTo>
                  <a:pt x="0" y="2449"/>
                </a:lnTo>
                <a:lnTo>
                  <a:pt x="3" y="2409"/>
                </a:lnTo>
                <a:lnTo>
                  <a:pt x="15" y="2370"/>
                </a:lnTo>
                <a:lnTo>
                  <a:pt x="34" y="2336"/>
                </a:lnTo>
                <a:lnTo>
                  <a:pt x="59" y="2306"/>
                </a:lnTo>
                <a:lnTo>
                  <a:pt x="89" y="2283"/>
                </a:lnTo>
                <a:lnTo>
                  <a:pt x="122" y="2264"/>
                </a:lnTo>
                <a:lnTo>
                  <a:pt x="161" y="2253"/>
                </a:lnTo>
                <a:lnTo>
                  <a:pt x="201" y="2248"/>
                </a:lnTo>
                <a:lnTo>
                  <a:pt x="961" y="2248"/>
                </a:lnTo>
                <a:lnTo>
                  <a:pt x="1248" y="1479"/>
                </a:lnTo>
                <a:lnTo>
                  <a:pt x="1268" y="1440"/>
                </a:lnTo>
                <a:lnTo>
                  <a:pt x="1295" y="1408"/>
                </a:lnTo>
                <a:lnTo>
                  <a:pt x="1326" y="1382"/>
                </a:lnTo>
                <a:lnTo>
                  <a:pt x="1363" y="1363"/>
                </a:lnTo>
                <a:lnTo>
                  <a:pt x="1404" y="1351"/>
                </a:lnTo>
                <a:lnTo>
                  <a:pt x="1447" y="1350"/>
                </a:lnTo>
                <a:lnTo>
                  <a:pt x="1491" y="1356"/>
                </a:lnTo>
                <a:lnTo>
                  <a:pt x="1529" y="1372"/>
                </a:lnTo>
                <a:lnTo>
                  <a:pt x="1565" y="1395"/>
                </a:lnTo>
                <a:lnTo>
                  <a:pt x="1593" y="1425"/>
                </a:lnTo>
                <a:lnTo>
                  <a:pt x="1617" y="1460"/>
                </a:lnTo>
                <a:lnTo>
                  <a:pt x="1632" y="1501"/>
                </a:lnTo>
                <a:lnTo>
                  <a:pt x="2027" y="3070"/>
                </a:lnTo>
                <a:lnTo>
                  <a:pt x="2586" y="163"/>
                </a:lnTo>
                <a:lnTo>
                  <a:pt x="2597" y="125"/>
                </a:lnTo>
                <a:lnTo>
                  <a:pt x="2616" y="91"/>
                </a:lnTo>
                <a:lnTo>
                  <a:pt x="2639" y="61"/>
                </a:lnTo>
                <a:lnTo>
                  <a:pt x="2668" y="37"/>
                </a:lnTo>
                <a:lnTo>
                  <a:pt x="2701" y="17"/>
                </a:lnTo>
                <a:lnTo>
                  <a:pt x="2737" y="5"/>
                </a:lnTo>
                <a:lnTo>
                  <a:pt x="2777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127" name="Group 126"/>
          <p:cNvGrpSpPr/>
          <p:nvPr/>
        </p:nvGrpSpPr>
        <p:grpSpPr>
          <a:xfrm>
            <a:off x="1534691" y="3589644"/>
            <a:ext cx="446930" cy="438176"/>
            <a:chOff x="11495088" y="4592638"/>
            <a:chExt cx="4619625" cy="4529138"/>
          </a:xfrm>
          <a:solidFill>
            <a:schemeClr val="bg1"/>
          </a:solidFill>
        </p:grpSpPr>
        <p:sp>
          <p:nvSpPr>
            <p:cNvPr id="125" name="Freeform 28"/>
            <p:cNvSpPr>
              <a:spLocks/>
            </p:cNvSpPr>
            <p:nvPr/>
          </p:nvSpPr>
          <p:spPr bwMode="auto">
            <a:xfrm>
              <a:off x="13947776" y="6157913"/>
              <a:ext cx="2009775" cy="2009775"/>
            </a:xfrm>
            <a:custGeom>
              <a:avLst/>
              <a:gdLst>
                <a:gd name="T0" fmla="*/ 882 w 2532"/>
                <a:gd name="T1" fmla="*/ 0 h 2533"/>
                <a:gd name="T2" fmla="*/ 1649 w 2532"/>
                <a:gd name="T3" fmla="*/ 0 h 2533"/>
                <a:gd name="T4" fmla="*/ 1649 w 2532"/>
                <a:gd name="T5" fmla="*/ 882 h 2533"/>
                <a:gd name="T6" fmla="*/ 2532 w 2532"/>
                <a:gd name="T7" fmla="*/ 882 h 2533"/>
                <a:gd name="T8" fmla="*/ 2532 w 2532"/>
                <a:gd name="T9" fmla="*/ 1649 h 2533"/>
                <a:gd name="T10" fmla="*/ 1649 w 2532"/>
                <a:gd name="T11" fmla="*/ 1649 h 2533"/>
                <a:gd name="T12" fmla="*/ 1649 w 2532"/>
                <a:gd name="T13" fmla="*/ 2533 h 2533"/>
                <a:gd name="T14" fmla="*/ 882 w 2532"/>
                <a:gd name="T15" fmla="*/ 2533 h 2533"/>
                <a:gd name="T16" fmla="*/ 882 w 2532"/>
                <a:gd name="T17" fmla="*/ 1649 h 2533"/>
                <a:gd name="T18" fmla="*/ 0 w 2532"/>
                <a:gd name="T19" fmla="*/ 1649 h 2533"/>
                <a:gd name="T20" fmla="*/ 0 w 2532"/>
                <a:gd name="T21" fmla="*/ 882 h 2533"/>
                <a:gd name="T22" fmla="*/ 882 w 2532"/>
                <a:gd name="T23" fmla="*/ 882 h 2533"/>
                <a:gd name="T24" fmla="*/ 882 w 2532"/>
                <a:gd name="T25" fmla="*/ 0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2" h="2533">
                  <a:moveTo>
                    <a:pt x="882" y="0"/>
                  </a:moveTo>
                  <a:lnTo>
                    <a:pt x="1649" y="0"/>
                  </a:lnTo>
                  <a:lnTo>
                    <a:pt x="1649" y="882"/>
                  </a:lnTo>
                  <a:lnTo>
                    <a:pt x="2532" y="882"/>
                  </a:lnTo>
                  <a:lnTo>
                    <a:pt x="2532" y="1649"/>
                  </a:lnTo>
                  <a:lnTo>
                    <a:pt x="1649" y="1649"/>
                  </a:lnTo>
                  <a:lnTo>
                    <a:pt x="1649" y="2533"/>
                  </a:lnTo>
                  <a:lnTo>
                    <a:pt x="882" y="2533"/>
                  </a:lnTo>
                  <a:lnTo>
                    <a:pt x="882" y="1649"/>
                  </a:lnTo>
                  <a:lnTo>
                    <a:pt x="0" y="1649"/>
                  </a:lnTo>
                  <a:lnTo>
                    <a:pt x="0" y="882"/>
                  </a:lnTo>
                  <a:lnTo>
                    <a:pt x="882" y="882"/>
                  </a:lnTo>
                  <a:lnTo>
                    <a:pt x="8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29"/>
            <p:cNvSpPr>
              <a:spLocks/>
            </p:cNvSpPr>
            <p:nvPr/>
          </p:nvSpPr>
          <p:spPr bwMode="auto">
            <a:xfrm>
              <a:off x="11495088" y="4592638"/>
              <a:ext cx="4619625" cy="4529138"/>
            </a:xfrm>
            <a:custGeom>
              <a:avLst/>
              <a:gdLst>
                <a:gd name="T0" fmla="*/ 1737 w 5820"/>
                <a:gd name="T1" fmla="*/ 5 h 5704"/>
                <a:gd name="T2" fmla="*/ 1995 w 5820"/>
                <a:gd name="T3" fmla="*/ 47 h 5704"/>
                <a:gd name="T4" fmla="*/ 2236 w 5820"/>
                <a:gd name="T5" fmla="*/ 129 h 5704"/>
                <a:gd name="T6" fmla="*/ 2459 w 5820"/>
                <a:gd name="T7" fmla="*/ 245 h 5704"/>
                <a:gd name="T8" fmla="*/ 2660 w 5820"/>
                <a:gd name="T9" fmla="*/ 395 h 5704"/>
                <a:gd name="T10" fmla="*/ 2834 w 5820"/>
                <a:gd name="T11" fmla="*/ 573 h 5704"/>
                <a:gd name="T12" fmla="*/ 2986 w 5820"/>
                <a:gd name="T13" fmla="*/ 573 h 5704"/>
                <a:gd name="T14" fmla="*/ 3160 w 5820"/>
                <a:gd name="T15" fmla="*/ 395 h 5704"/>
                <a:gd name="T16" fmla="*/ 3361 w 5820"/>
                <a:gd name="T17" fmla="*/ 245 h 5704"/>
                <a:gd name="T18" fmla="*/ 3584 w 5820"/>
                <a:gd name="T19" fmla="*/ 129 h 5704"/>
                <a:gd name="T20" fmla="*/ 3825 w 5820"/>
                <a:gd name="T21" fmla="*/ 47 h 5704"/>
                <a:gd name="T22" fmla="*/ 4083 w 5820"/>
                <a:gd name="T23" fmla="*/ 5 h 5704"/>
                <a:gd name="T24" fmla="*/ 4347 w 5820"/>
                <a:gd name="T25" fmla="*/ 5 h 5704"/>
                <a:gd name="T26" fmla="*/ 4601 w 5820"/>
                <a:gd name="T27" fmla="*/ 46 h 5704"/>
                <a:gd name="T28" fmla="*/ 4839 w 5820"/>
                <a:gd name="T29" fmla="*/ 125 h 5704"/>
                <a:gd name="T30" fmla="*/ 5062 w 5820"/>
                <a:gd name="T31" fmla="*/ 240 h 5704"/>
                <a:gd name="T32" fmla="*/ 5259 w 5820"/>
                <a:gd name="T33" fmla="*/ 386 h 5704"/>
                <a:gd name="T34" fmla="*/ 5434 w 5820"/>
                <a:gd name="T35" fmla="*/ 559 h 5704"/>
                <a:gd name="T36" fmla="*/ 5580 w 5820"/>
                <a:gd name="T37" fmla="*/ 758 h 5704"/>
                <a:gd name="T38" fmla="*/ 5695 w 5820"/>
                <a:gd name="T39" fmla="*/ 979 h 5704"/>
                <a:gd name="T40" fmla="*/ 5774 w 5820"/>
                <a:gd name="T41" fmla="*/ 1219 h 5704"/>
                <a:gd name="T42" fmla="*/ 5815 w 5820"/>
                <a:gd name="T43" fmla="*/ 1473 h 5704"/>
                <a:gd name="T44" fmla="*/ 5816 w 5820"/>
                <a:gd name="T45" fmla="*/ 1721 h 5704"/>
                <a:gd name="T46" fmla="*/ 5783 w 5820"/>
                <a:gd name="T47" fmla="*/ 1951 h 5704"/>
                <a:gd name="T48" fmla="*/ 5718 w 5820"/>
                <a:gd name="T49" fmla="*/ 2166 h 5704"/>
                <a:gd name="T50" fmla="*/ 5624 w 5820"/>
                <a:gd name="T51" fmla="*/ 2371 h 5704"/>
                <a:gd name="T52" fmla="*/ 5123 w 5820"/>
                <a:gd name="T53" fmla="*/ 2468 h 5704"/>
                <a:gd name="T54" fmla="*/ 3587 w 5820"/>
                <a:gd name="T55" fmla="*/ 1586 h 5704"/>
                <a:gd name="T56" fmla="*/ 2705 w 5820"/>
                <a:gd name="T57" fmla="*/ 2468 h 5704"/>
                <a:gd name="T58" fmla="*/ 3587 w 5820"/>
                <a:gd name="T59" fmla="*/ 4004 h 5704"/>
                <a:gd name="T60" fmla="*/ 2910 w 5820"/>
                <a:gd name="T61" fmla="*/ 5704 h 5704"/>
                <a:gd name="T62" fmla="*/ 289 w 5820"/>
                <a:gd name="T63" fmla="*/ 2524 h 5704"/>
                <a:gd name="T64" fmla="*/ 168 w 5820"/>
                <a:gd name="T65" fmla="*/ 2319 h 5704"/>
                <a:gd name="T66" fmla="*/ 76 w 5820"/>
                <a:gd name="T67" fmla="*/ 2095 h 5704"/>
                <a:gd name="T68" fmla="*/ 19 w 5820"/>
                <a:gd name="T69" fmla="*/ 1855 h 5704"/>
                <a:gd name="T70" fmla="*/ 0 w 5820"/>
                <a:gd name="T71" fmla="*/ 1603 h 5704"/>
                <a:gd name="T72" fmla="*/ 21 w 5820"/>
                <a:gd name="T73" fmla="*/ 1344 h 5704"/>
                <a:gd name="T74" fmla="*/ 81 w 5820"/>
                <a:gd name="T75" fmla="*/ 1097 h 5704"/>
                <a:gd name="T76" fmla="*/ 180 w 5820"/>
                <a:gd name="T77" fmla="*/ 866 h 5704"/>
                <a:gd name="T78" fmla="*/ 310 w 5820"/>
                <a:gd name="T79" fmla="*/ 656 h 5704"/>
                <a:gd name="T80" fmla="*/ 469 w 5820"/>
                <a:gd name="T81" fmla="*/ 469 h 5704"/>
                <a:gd name="T82" fmla="*/ 656 w 5820"/>
                <a:gd name="T83" fmla="*/ 309 h 5704"/>
                <a:gd name="T84" fmla="*/ 868 w 5820"/>
                <a:gd name="T85" fmla="*/ 178 h 5704"/>
                <a:gd name="T86" fmla="*/ 1097 w 5820"/>
                <a:gd name="T87" fmla="*/ 81 h 5704"/>
                <a:gd name="T88" fmla="*/ 1344 w 5820"/>
                <a:gd name="T89" fmla="*/ 21 h 5704"/>
                <a:gd name="T90" fmla="*/ 1605 w 5820"/>
                <a:gd name="T91" fmla="*/ 0 h 5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820" h="5704">
                  <a:moveTo>
                    <a:pt x="1605" y="0"/>
                  </a:moveTo>
                  <a:lnTo>
                    <a:pt x="1737" y="5"/>
                  </a:lnTo>
                  <a:lnTo>
                    <a:pt x="1868" y="21"/>
                  </a:lnTo>
                  <a:lnTo>
                    <a:pt x="1995" y="47"/>
                  </a:lnTo>
                  <a:lnTo>
                    <a:pt x="2118" y="83"/>
                  </a:lnTo>
                  <a:lnTo>
                    <a:pt x="2236" y="129"/>
                  </a:lnTo>
                  <a:lnTo>
                    <a:pt x="2349" y="183"/>
                  </a:lnTo>
                  <a:lnTo>
                    <a:pt x="2459" y="245"/>
                  </a:lnTo>
                  <a:lnTo>
                    <a:pt x="2563" y="316"/>
                  </a:lnTo>
                  <a:lnTo>
                    <a:pt x="2660" y="395"/>
                  </a:lnTo>
                  <a:lnTo>
                    <a:pt x="2750" y="480"/>
                  </a:lnTo>
                  <a:lnTo>
                    <a:pt x="2834" y="573"/>
                  </a:lnTo>
                  <a:lnTo>
                    <a:pt x="2910" y="672"/>
                  </a:lnTo>
                  <a:lnTo>
                    <a:pt x="2986" y="573"/>
                  </a:lnTo>
                  <a:lnTo>
                    <a:pt x="3070" y="480"/>
                  </a:lnTo>
                  <a:lnTo>
                    <a:pt x="3160" y="395"/>
                  </a:lnTo>
                  <a:lnTo>
                    <a:pt x="3257" y="316"/>
                  </a:lnTo>
                  <a:lnTo>
                    <a:pt x="3361" y="245"/>
                  </a:lnTo>
                  <a:lnTo>
                    <a:pt x="3471" y="183"/>
                  </a:lnTo>
                  <a:lnTo>
                    <a:pt x="3584" y="129"/>
                  </a:lnTo>
                  <a:lnTo>
                    <a:pt x="3702" y="83"/>
                  </a:lnTo>
                  <a:lnTo>
                    <a:pt x="3825" y="47"/>
                  </a:lnTo>
                  <a:lnTo>
                    <a:pt x="3952" y="21"/>
                  </a:lnTo>
                  <a:lnTo>
                    <a:pt x="4083" y="5"/>
                  </a:lnTo>
                  <a:lnTo>
                    <a:pt x="4215" y="0"/>
                  </a:lnTo>
                  <a:lnTo>
                    <a:pt x="4347" y="5"/>
                  </a:lnTo>
                  <a:lnTo>
                    <a:pt x="4476" y="21"/>
                  </a:lnTo>
                  <a:lnTo>
                    <a:pt x="4601" y="46"/>
                  </a:lnTo>
                  <a:lnTo>
                    <a:pt x="4723" y="81"/>
                  </a:lnTo>
                  <a:lnTo>
                    <a:pt x="4839" y="125"/>
                  </a:lnTo>
                  <a:lnTo>
                    <a:pt x="4952" y="178"/>
                  </a:lnTo>
                  <a:lnTo>
                    <a:pt x="5062" y="240"/>
                  </a:lnTo>
                  <a:lnTo>
                    <a:pt x="5164" y="309"/>
                  </a:lnTo>
                  <a:lnTo>
                    <a:pt x="5259" y="386"/>
                  </a:lnTo>
                  <a:lnTo>
                    <a:pt x="5351" y="469"/>
                  </a:lnTo>
                  <a:lnTo>
                    <a:pt x="5434" y="559"/>
                  </a:lnTo>
                  <a:lnTo>
                    <a:pt x="5510" y="656"/>
                  </a:lnTo>
                  <a:lnTo>
                    <a:pt x="5580" y="758"/>
                  </a:lnTo>
                  <a:lnTo>
                    <a:pt x="5640" y="866"/>
                  </a:lnTo>
                  <a:lnTo>
                    <a:pt x="5695" y="979"/>
                  </a:lnTo>
                  <a:lnTo>
                    <a:pt x="5739" y="1097"/>
                  </a:lnTo>
                  <a:lnTo>
                    <a:pt x="5774" y="1219"/>
                  </a:lnTo>
                  <a:lnTo>
                    <a:pt x="5799" y="1344"/>
                  </a:lnTo>
                  <a:lnTo>
                    <a:pt x="5815" y="1473"/>
                  </a:lnTo>
                  <a:lnTo>
                    <a:pt x="5820" y="1605"/>
                  </a:lnTo>
                  <a:lnTo>
                    <a:pt x="5816" y="1721"/>
                  </a:lnTo>
                  <a:lnTo>
                    <a:pt x="5802" y="1838"/>
                  </a:lnTo>
                  <a:lnTo>
                    <a:pt x="5783" y="1951"/>
                  </a:lnTo>
                  <a:lnTo>
                    <a:pt x="5753" y="2060"/>
                  </a:lnTo>
                  <a:lnTo>
                    <a:pt x="5718" y="2166"/>
                  </a:lnTo>
                  <a:lnTo>
                    <a:pt x="5675" y="2270"/>
                  </a:lnTo>
                  <a:lnTo>
                    <a:pt x="5624" y="2371"/>
                  </a:lnTo>
                  <a:lnTo>
                    <a:pt x="5568" y="2468"/>
                  </a:lnTo>
                  <a:lnTo>
                    <a:pt x="5123" y="2468"/>
                  </a:lnTo>
                  <a:lnTo>
                    <a:pt x="5123" y="1586"/>
                  </a:lnTo>
                  <a:lnTo>
                    <a:pt x="3587" y="1586"/>
                  </a:lnTo>
                  <a:lnTo>
                    <a:pt x="3587" y="2468"/>
                  </a:lnTo>
                  <a:lnTo>
                    <a:pt x="2705" y="2468"/>
                  </a:lnTo>
                  <a:lnTo>
                    <a:pt x="2705" y="4004"/>
                  </a:lnTo>
                  <a:lnTo>
                    <a:pt x="3587" y="4004"/>
                  </a:lnTo>
                  <a:lnTo>
                    <a:pt x="3587" y="4884"/>
                  </a:lnTo>
                  <a:lnTo>
                    <a:pt x="2910" y="5704"/>
                  </a:lnTo>
                  <a:lnTo>
                    <a:pt x="362" y="2619"/>
                  </a:lnTo>
                  <a:lnTo>
                    <a:pt x="289" y="2524"/>
                  </a:lnTo>
                  <a:lnTo>
                    <a:pt x="226" y="2423"/>
                  </a:lnTo>
                  <a:lnTo>
                    <a:pt x="168" y="2319"/>
                  </a:lnTo>
                  <a:lnTo>
                    <a:pt x="118" y="2208"/>
                  </a:lnTo>
                  <a:lnTo>
                    <a:pt x="76" y="2095"/>
                  </a:lnTo>
                  <a:lnTo>
                    <a:pt x="44" y="1977"/>
                  </a:lnTo>
                  <a:lnTo>
                    <a:pt x="19" y="1855"/>
                  </a:lnTo>
                  <a:lnTo>
                    <a:pt x="5" y="1732"/>
                  </a:lnTo>
                  <a:lnTo>
                    <a:pt x="0" y="1603"/>
                  </a:lnTo>
                  <a:lnTo>
                    <a:pt x="5" y="1473"/>
                  </a:lnTo>
                  <a:lnTo>
                    <a:pt x="21" y="1344"/>
                  </a:lnTo>
                  <a:lnTo>
                    <a:pt x="46" y="1219"/>
                  </a:lnTo>
                  <a:lnTo>
                    <a:pt x="81" y="1097"/>
                  </a:lnTo>
                  <a:lnTo>
                    <a:pt x="125" y="979"/>
                  </a:lnTo>
                  <a:lnTo>
                    <a:pt x="180" y="866"/>
                  </a:lnTo>
                  <a:lnTo>
                    <a:pt x="240" y="758"/>
                  </a:lnTo>
                  <a:lnTo>
                    <a:pt x="310" y="656"/>
                  </a:lnTo>
                  <a:lnTo>
                    <a:pt x="386" y="559"/>
                  </a:lnTo>
                  <a:lnTo>
                    <a:pt x="469" y="469"/>
                  </a:lnTo>
                  <a:lnTo>
                    <a:pt x="561" y="386"/>
                  </a:lnTo>
                  <a:lnTo>
                    <a:pt x="656" y="309"/>
                  </a:lnTo>
                  <a:lnTo>
                    <a:pt x="758" y="240"/>
                  </a:lnTo>
                  <a:lnTo>
                    <a:pt x="868" y="178"/>
                  </a:lnTo>
                  <a:lnTo>
                    <a:pt x="981" y="125"/>
                  </a:lnTo>
                  <a:lnTo>
                    <a:pt x="1097" y="81"/>
                  </a:lnTo>
                  <a:lnTo>
                    <a:pt x="1219" y="46"/>
                  </a:lnTo>
                  <a:lnTo>
                    <a:pt x="1344" y="21"/>
                  </a:lnTo>
                  <a:lnTo>
                    <a:pt x="1473" y="5"/>
                  </a:lnTo>
                  <a:lnTo>
                    <a:pt x="160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31" name="Freeform 34"/>
          <p:cNvSpPr>
            <a:spLocks noEditPoints="1"/>
          </p:cNvSpPr>
          <p:nvPr/>
        </p:nvSpPr>
        <p:spPr bwMode="auto">
          <a:xfrm>
            <a:off x="6512223" y="2150675"/>
            <a:ext cx="524866" cy="448670"/>
          </a:xfrm>
          <a:custGeom>
            <a:avLst/>
            <a:gdLst>
              <a:gd name="T0" fmla="*/ 1904 w 4442"/>
              <a:gd name="T1" fmla="*/ 2052 h 3797"/>
              <a:gd name="T2" fmla="*/ 1423 w 4442"/>
              <a:gd name="T3" fmla="*/ 2684 h 3797"/>
              <a:gd name="T4" fmla="*/ 1904 w 4442"/>
              <a:gd name="T5" fmla="*/ 3164 h 3797"/>
              <a:gd name="T6" fmla="*/ 2539 w 4442"/>
              <a:gd name="T7" fmla="*/ 2684 h 3797"/>
              <a:gd name="T8" fmla="*/ 3019 w 4442"/>
              <a:gd name="T9" fmla="*/ 2052 h 3797"/>
              <a:gd name="T10" fmla="*/ 2539 w 4442"/>
              <a:gd name="T11" fmla="*/ 1572 h 3797"/>
              <a:gd name="T12" fmla="*/ 1596 w 4442"/>
              <a:gd name="T13" fmla="*/ 307 h 3797"/>
              <a:gd name="T14" fmla="*/ 2865 w 4442"/>
              <a:gd name="T15" fmla="*/ 939 h 3797"/>
              <a:gd name="T16" fmla="*/ 1596 w 4442"/>
              <a:gd name="T17" fmla="*/ 307 h 3797"/>
              <a:gd name="T18" fmla="*/ 2949 w 4442"/>
              <a:gd name="T19" fmla="*/ 0 h 3797"/>
              <a:gd name="T20" fmla="*/ 3028 w 4442"/>
              <a:gd name="T21" fmla="*/ 15 h 3797"/>
              <a:gd name="T22" fmla="*/ 3094 w 4442"/>
              <a:gd name="T23" fmla="*/ 55 h 3797"/>
              <a:gd name="T24" fmla="*/ 3143 w 4442"/>
              <a:gd name="T25" fmla="*/ 115 h 3797"/>
              <a:gd name="T26" fmla="*/ 3170 w 4442"/>
              <a:gd name="T27" fmla="*/ 190 h 3797"/>
              <a:gd name="T28" fmla="*/ 3174 w 4442"/>
              <a:gd name="T29" fmla="*/ 939 h 3797"/>
              <a:gd name="T30" fmla="*/ 4260 w 4442"/>
              <a:gd name="T31" fmla="*/ 943 h 3797"/>
              <a:gd name="T32" fmla="*/ 4333 w 4442"/>
              <a:gd name="T33" fmla="*/ 972 h 3797"/>
              <a:gd name="T34" fmla="*/ 4391 w 4442"/>
              <a:gd name="T35" fmla="*/ 1021 h 3797"/>
              <a:gd name="T36" fmla="*/ 4428 w 4442"/>
              <a:gd name="T37" fmla="*/ 1090 h 3797"/>
              <a:gd name="T38" fmla="*/ 4442 w 4442"/>
              <a:gd name="T39" fmla="*/ 1170 h 3797"/>
              <a:gd name="T40" fmla="*/ 4439 w 4442"/>
              <a:gd name="T41" fmla="*/ 3607 h 3797"/>
              <a:gd name="T42" fmla="*/ 4412 w 4442"/>
              <a:gd name="T43" fmla="*/ 3683 h 3797"/>
              <a:gd name="T44" fmla="*/ 4364 w 4442"/>
              <a:gd name="T45" fmla="*/ 3742 h 3797"/>
              <a:gd name="T46" fmla="*/ 4298 w 4442"/>
              <a:gd name="T47" fmla="*/ 3782 h 3797"/>
              <a:gd name="T48" fmla="*/ 4218 w 4442"/>
              <a:gd name="T49" fmla="*/ 3797 h 3797"/>
              <a:gd name="T50" fmla="*/ 195 w 4442"/>
              <a:gd name="T51" fmla="*/ 3793 h 3797"/>
              <a:gd name="T52" fmla="*/ 119 w 4442"/>
              <a:gd name="T53" fmla="*/ 3765 h 3797"/>
              <a:gd name="T54" fmla="*/ 57 w 4442"/>
              <a:gd name="T55" fmla="*/ 3715 h 3797"/>
              <a:gd name="T56" fmla="*/ 15 w 4442"/>
              <a:gd name="T57" fmla="*/ 3646 h 3797"/>
              <a:gd name="T58" fmla="*/ 0 w 4442"/>
              <a:gd name="T59" fmla="*/ 3566 h 3797"/>
              <a:gd name="T60" fmla="*/ 4 w 4442"/>
              <a:gd name="T61" fmla="*/ 1129 h 3797"/>
              <a:gd name="T62" fmla="*/ 34 w 4442"/>
              <a:gd name="T63" fmla="*/ 1054 h 3797"/>
              <a:gd name="T64" fmla="*/ 86 w 4442"/>
              <a:gd name="T65" fmla="*/ 995 h 3797"/>
              <a:gd name="T66" fmla="*/ 156 w 4442"/>
              <a:gd name="T67" fmla="*/ 954 h 3797"/>
              <a:gd name="T68" fmla="*/ 237 w 4442"/>
              <a:gd name="T69" fmla="*/ 939 h 3797"/>
              <a:gd name="T70" fmla="*/ 1288 w 4442"/>
              <a:gd name="T71" fmla="*/ 230 h 3797"/>
              <a:gd name="T72" fmla="*/ 1305 w 4442"/>
              <a:gd name="T73" fmla="*/ 151 h 3797"/>
              <a:gd name="T74" fmla="*/ 1346 w 4442"/>
              <a:gd name="T75" fmla="*/ 82 h 3797"/>
              <a:gd name="T76" fmla="*/ 1408 w 4442"/>
              <a:gd name="T77" fmla="*/ 33 h 3797"/>
              <a:gd name="T78" fmla="*/ 1484 w 4442"/>
              <a:gd name="T79" fmla="*/ 4 h 37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442" h="3797">
                <a:moveTo>
                  <a:pt x="1904" y="1572"/>
                </a:moveTo>
                <a:lnTo>
                  <a:pt x="1904" y="2052"/>
                </a:lnTo>
                <a:lnTo>
                  <a:pt x="1423" y="2052"/>
                </a:lnTo>
                <a:lnTo>
                  <a:pt x="1423" y="2684"/>
                </a:lnTo>
                <a:lnTo>
                  <a:pt x="1904" y="2684"/>
                </a:lnTo>
                <a:lnTo>
                  <a:pt x="1904" y="3164"/>
                </a:lnTo>
                <a:lnTo>
                  <a:pt x="2539" y="3164"/>
                </a:lnTo>
                <a:lnTo>
                  <a:pt x="2539" y="2684"/>
                </a:lnTo>
                <a:lnTo>
                  <a:pt x="3019" y="2684"/>
                </a:lnTo>
                <a:lnTo>
                  <a:pt x="3019" y="2052"/>
                </a:lnTo>
                <a:lnTo>
                  <a:pt x="2539" y="2052"/>
                </a:lnTo>
                <a:lnTo>
                  <a:pt x="2539" y="1572"/>
                </a:lnTo>
                <a:lnTo>
                  <a:pt x="1904" y="1572"/>
                </a:lnTo>
                <a:close/>
                <a:moveTo>
                  <a:pt x="1596" y="307"/>
                </a:moveTo>
                <a:lnTo>
                  <a:pt x="1596" y="939"/>
                </a:lnTo>
                <a:lnTo>
                  <a:pt x="2865" y="939"/>
                </a:lnTo>
                <a:lnTo>
                  <a:pt x="2865" y="307"/>
                </a:lnTo>
                <a:lnTo>
                  <a:pt x="1596" y="307"/>
                </a:lnTo>
                <a:close/>
                <a:moveTo>
                  <a:pt x="1526" y="0"/>
                </a:moveTo>
                <a:lnTo>
                  <a:pt x="2949" y="0"/>
                </a:lnTo>
                <a:lnTo>
                  <a:pt x="2991" y="4"/>
                </a:lnTo>
                <a:lnTo>
                  <a:pt x="3028" y="15"/>
                </a:lnTo>
                <a:lnTo>
                  <a:pt x="3063" y="33"/>
                </a:lnTo>
                <a:lnTo>
                  <a:pt x="3094" y="55"/>
                </a:lnTo>
                <a:lnTo>
                  <a:pt x="3121" y="82"/>
                </a:lnTo>
                <a:lnTo>
                  <a:pt x="3143" y="115"/>
                </a:lnTo>
                <a:lnTo>
                  <a:pt x="3159" y="151"/>
                </a:lnTo>
                <a:lnTo>
                  <a:pt x="3170" y="190"/>
                </a:lnTo>
                <a:lnTo>
                  <a:pt x="3174" y="230"/>
                </a:lnTo>
                <a:lnTo>
                  <a:pt x="3174" y="939"/>
                </a:lnTo>
                <a:lnTo>
                  <a:pt x="4218" y="939"/>
                </a:lnTo>
                <a:lnTo>
                  <a:pt x="4260" y="943"/>
                </a:lnTo>
                <a:lnTo>
                  <a:pt x="4298" y="954"/>
                </a:lnTo>
                <a:lnTo>
                  <a:pt x="4333" y="972"/>
                </a:lnTo>
                <a:lnTo>
                  <a:pt x="4364" y="995"/>
                </a:lnTo>
                <a:lnTo>
                  <a:pt x="4391" y="1021"/>
                </a:lnTo>
                <a:lnTo>
                  <a:pt x="4412" y="1054"/>
                </a:lnTo>
                <a:lnTo>
                  <a:pt x="4428" y="1090"/>
                </a:lnTo>
                <a:lnTo>
                  <a:pt x="4439" y="1129"/>
                </a:lnTo>
                <a:lnTo>
                  <a:pt x="4442" y="1170"/>
                </a:lnTo>
                <a:lnTo>
                  <a:pt x="4442" y="3566"/>
                </a:lnTo>
                <a:lnTo>
                  <a:pt x="4439" y="3607"/>
                </a:lnTo>
                <a:lnTo>
                  <a:pt x="4428" y="3646"/>
                </a:lnTo>
                <a:lnTo>
                  <a:pt x="4412" y="3683"/>
                </a:lnTo>
                <a:lnTo>
                  <a:pt x="4391" y="3715"/>
                </a:lnTo>
                <a:lnTo>
                  <a:pt x="4364" y="3742"/>
                </a:lnTo>
                <a:lnTo>
                  <a:pt x="4333" y="3765"/>
                </a:lnTo>
                <a:lnTo>
                  <a:pt x="4298" y="3782"/>
                </a:lnTo>
                <a:lnTo>
                  <a:pt x="4260" y="3793"/>
                </a:lnTo>
                <a:lnTo>
                  <a:pt x="4218" y="3797"/>
                </a:lnTo>
                <a:lnTo>
                  <a:pt x="237" y="3797"/>
                </a:lnTo>
                <a:lnTo>
                  <a:pt x="195" y="3793"/>
                </a:lnTo>
                <a:lnTo>
                  <a:pt x="156" y="3782"/>
                </a:lnTo>
                <a:lnTo>
                  <a:pt x="119" y="3765"/>
                </a:lnTo>
                <a:lnTo>
                  <a:pt x="86" y="3742"/>
                </a:lnTo>
                <a:lnTo>
                  <a:pt x="57" y="3715"/>
                </a:lnTo>
                <a:lnTo>
                  <a:pt x="34" y="3683"/>
                </a:lnTo>
                <a:lnTo>
                  <a:pt x="15" y="3646"/>
                </a:lnTo>
                <a:lnTo>
                  <a:pt x="4" y="3607"/>
                </a:lnTo>
                <a:lnTo>
                  <a:pt x="0" y="3566"/>
                </a:lnTo>
                <a:lnTo>
                  <a:pt x="0" y="1170"/>
                </a:lnTo>
                <a:lnTo>
                  <a:pt x="4" y="1129"/>
                </a:lnTo>
                <a:lnTo>
                  <a:pt x="15" y="1090"/>
                </a:lnTo>
                <a:lnTo>
                  <a:pt x="34" y="1054"/>
                </a:lnTo>
                <a:lnTo>
                  <a:pt x="57" y="1021"/>
                </a:lnTo>
                <a:lnTo>
                  <a:pt x="86" y="995"/>
                </a:lnTo>
                <a:lnTo>
                  <a:pt x="119" y="972"/>
                </a:lnTo>
                <a:lnTo>
                  <a:pt x="156" y="954"/>
                </a:lnTo>
                <a:lnTo>
                  <a:pt x="195" y="943"/>
                </a:lnTo>
                <a:lnTo>
                  <a:pt x="237" y="939"/>
                </a:lnTo>
                <a:lnTo>
                  <a:pt x="1288" y="939"/>
                </a:lnTo>
                <a:lnTo>
                  <a:pt x="1288" y="230"/>
                </a:lnTo>
                <a:lnTo>
                  <a:pt x="1292" y="190"/>
                </a:lnTo>
                <a:lnTo>
                  <a:pt x="1305" y="151"/>
                </a:lnTo>
                <a:lnTo>
                  <a:pt x="1322" y="115"/>
                </a:lnTo>
                <a:lnTo>
                  <a:pt x="1346" y="82"/>
                </a:lnTo>
                <a:lnTo>
                  <a:pt x="1375" y="55"/>
                </a:lnTo>
                <a:lnTo>
                  <a:pt x="1408" y="33"/>
                </a:lnTo>
                <a:lnTo>
                  <a:pt x="1445" y="15"/>
                </a:lnTo>
                <a:lnTo>
                  <a:pt x="1484" y="4"/>
                </a:lnTo>
                <a:lnTo>
                  <a:pt x="152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35" name="Freeform 39"/>
          <p:cNvSpPr>
            <a:spLocks noEditPoints="1"/>
          </p:cNvSpPr>
          <p:nvPr/>
        </p:nvSpPr>
        <p:spPr bwMode="auto">
          <a:xfrm>
            <a:off x="6527592" y="3502689"/>
            <a:ext cx="494128" cy="577050"/>
          </a:xfrm>
          <a:custGeom>
            <a:avLst/>
            <a:gdLst>
              <a:gd name="T0" fmla="*/ 2501 w 3194"/>
              <a:gd name="T1" fmla="*/ 1109 h 3731"/>
              <a:gd name="T2" fmla="*/ 2588 w 3194"/>
              <a:gd name="T3" fmla="*/ 1348 h 3731"/>
              <a:gd name="T4" fmla="*/ 2839 w 3194"/>
              <a:gd name="T5" fmla="*/ 1305 h 3731"/>
              <a:gd name="T6" fmla="*/ 2839 w 3194"/>
              <a:gd name="T7" fmla="*/ 1051 h 3731"/>
              <a:gd name="T8" fmla="*/ 1470 w 3194"/>
              <a:gd name="T9" fmla="*/ 14 h 3731"/>
              <a:gd name="T10" fmla="*/ 1698 w 3194"/>
              <a:gd name="T11" fmla="*/ 244 h 3731"/>
              <a:gd name="T12" fmla="*/ 1838 w 3194"/>
              <a:gd name="T13" fmla="*/ 476 h 3731"/>
              <a:gd name="T14" fmla="*/ 1878 w 3194"/>
              <a:gd name="T15" fmla="*/ 927 h 3731"/>
              <a:gd name="T16" fmla="*/ 1945 w 3194"/>
              <a:gd name="T17" fmla="*/ 1098 h 3731"/>
              <a:gd name="T18" fmla="*/ 1853 w 3194"/>
              <a:gd name="T19" fmla="*/ 1354 h 3731"/>
              <a:gd name="T20" fmla="*/ 1621 w 3194"/>
              <a:gd name="T21" fmla="*/ 1774 h 3731"/>
              <a:gd name="T22" fmla="*/ 1401 w 3194"/>
              <a:gd name="T23" fmla="*/ 2084 h 3731"/>
              <a:gd name="T24" fmla="*/ 1069 w 3194"/>
              <a:gd name="T25" fmla="*/ 2273 h 3731"/>
              <a:gd name="T26" fmla="*/ 861 w 3194"/>
              <a:gd name="T27" fmla="*/ 2762 h 3731"/>
              <a:gd name="T28" fmla="*/ 798 w 3194"/>
              <a:gd name="T29" fmla="*/ 3068 h 3731"/>
              <a:gd name="T30" fmla="*/ 1074 w 3194"/>
              <a:gd name="T31" fmla="*/ 3355 h 3731"/>
              <a:gd name="T32" fmla="*/ 1528 w 3194"/>
              <a:gd name="T33" fmla="*/ 3437 h 3731"/>
              <a:gd name="T34" fmla="*/ 1785 w 3194"/>
              <a:gd name="T35" fmla="*/ 3290 h 3731"/>
              <a:gd name="T36" fmla="*/ 1959 w 3194"/>
              <a:gd name="T37" fmla="*/ 2902 h 3731"/>
              <a:gd name="T38" fmla="*/ 1910 w 3194"/>
              <a:gd name="T39" fmla="*/ 2335 h 3731"/>
              <a:gd name="T40" fmla="*/ 1870 w 3194"/>
              <a:gd name="T41" fmla="*/ 1800 h 3731"/>
              <a:gd name="T42" fmla="*/ 2044 w 3194"/>
              <a:gd name="T43" fmla="*/ 1435 h 3731"/>
              <a:gd name="T44" fmla="*/ 2181 w 3194"/>
              <a:gd name="T45" fmla="*/ 1177 h 3731"/>
              <a:gd name="T46" fmla="*/ 2370 w 3194"/>
              <a:gd name="T47" fmla="*/ 783 h 3731"/>
              <a:gd name="T48" fmla="*/ 2804 w 3194"/>
              <a:gd name="T49" fmla="*/ 686 h 3731"/>
              <a:gd name="T50" fmla="*/ 3142 w 3194"/>
              <a:gd name="T51" fmla="*/ 955 h 3731"/>
              <a:gd name="T52" fmla="*/ 3142 w 3194"/>
              <a:gd name="T53" fmla="*/ 1400 h 3731"/>
              <a:gd name="T54" fmla="*/ 2804 w 3194"/>
              <a:gd name="T55" fmla="*/ 1670 h 3731"/>
              <a:gd name="T56" fmla="*/ 2377 w 3194"/>
              <a:gd name="T57" fmla="*/ 1577 h 3731"/>
              <a:gd name="T58" fmla="*/ 2200 w 3194"/>
              <a:gd name="T59" fmla="*/ 1709 h 3731"/>
              <a:gd name="T60" fmla="*/ 2142 w 3194"/>
              <a:gd name="T61" fmla="*/ 2064 h 3731"/>
              <a:gd name="T62" fmla="*/ 2257 w 3194"/>
              <a:gd name="T63" fmla="*/ 2678 h 3731"/>
              <a:gd name="T64" fmla="*/ 2131 w 3194"/>
              <a:gd name="T65" fmla="*/ 3287 h 3731"/>
              <a:gd name="T66" fmla="*/ 1751 w 3194"/>
              <a:gd name="T67" fmla="*/ 3663 h 3731"/>
              <a:gd name="T68" fmla="*/ 1208 w 3194"/>
              <a:gd name="T69" fmla="*/ 3706 h 3731"/>
              <a:gd name="T70" fmla="*/ 698 w 3194"/>
              <a:gd name="T71" fmla="*/ 3426 h 3731"/>
              <a:gd name="T72" fmla="*/ 493 w 3194"/>
              <a:gd name="T73" fmla="*/ 2964 h 3731"/>
              <a:gd name="T74" fmla="*/ 685 w 3194"/>
              <a:gd name="T75" fmla="*/ 2486 h 3731"/>
              <a:gd name="T76" fmla="*/ 608 w 3194"/>
              <a:gd name="T77" fmla="*/ 2138 h 3731"/>
              <a:gd name="T78" fmla="*/ 443 w 3194"/>
              <a:gd name="T79" fmla="*/ 1907 h 3731"/>
              <a:gd name="T80" fmla="*/ 164 w 3194"/>
              <a:gd name="T81" fmla="*/ 1495 h 3731"/>
              <a:gd name="T82" fmla="*/ 25 w 3194"/>
              <a:gd name="T83" fmla="*/ 1157 h 3731"/>
              <a:gd name="T84" fmla="*/ 18 w 3194"/>
              <a:gd name="T85" fmla="*/ 983 h 3731"/>
              <a:gd name="T86" fmla="*/ 80 w 3194"/>
              <a:gd name="T87" fmla="*/ 616 h 3731"/>
              <a:gd name="T88" fmla="*/ 201 w 3194"/>
              <a:gd name="T89" fmla="*/ 309 h 3731"/>
              <a:gd name="T90" fmla="*/ 288 w 3194"/>
              <a:gd name="T91" fmla="*/ 153 h 3731"/>
              <a:gd name="T92" fmla="*/ 580 w 3194"/>
              <a:gd name="T93" fmla="*/ 15 h 3731"/>
              <a:gd name="T94" fmla="*/ 675 w 3194"/>
              <a:gd name="T95" fmla="*/ 292 h 3731"/>
              <a:gd name="T96" fmla="*/ 332 w 3194"/>
              <a:gd name="T97" fmla="*/ 337 h 3731"/>
              <a:gd name="T98" fmla="*/ 207 w 3194"/>
              <a:gd name="T99" fmla="*/ 499 h 3731"/>
              <a:gd name="T100" fmla="*/ 169 w 3194"/>
              <a:gd name="T101" fmla="*/ 912 h 3731"/>
              <a:gd name="T102" fmla="*/ 307 w 3194"/>
              <a:gd name="T103" fmla="*/ 1099 h 3731"/>
              <a:gd name="T104" fmla="*/ 523 w 3194"/>
              <a:gd name="T105" fmla="*/ 1552 h 3731"/>
              <a:gd name="T106" fmla="*/ 809 w 3194"/>
              <a:gd name="T107" fmla="*/ 1710 h 3731"/>
              <a:gd name="T108" fmla="*/ 1102 w 3194"/>
              <a:gd name="T109" fmla="*/ 1728 h 3731"/>
              <a:gd name="T110" fmla="*/ 1380 w 3194"/>
              <a:gd name="T111" fmla="*/ 1624 h 3731"/>
              <a:gd name="T112" fmla="*/ 1613 w 3194"/>
              <a:gd name="T113" fmla="*/ 1189 h 3731"/>
              <a:gd name="T114" fmla="*/ 1736 w 3194"/>
              <a:gd name="T115" fmla="*/ 931 h 3731"/>
              <a:gd name="T116" fmla="*/ 1771 w 3194"/>
              <a:gd name="T117" fmla="*/ 580 h 3731"/>
              <a:gd name="T118" fmla="*/ 1652 w 3194"/>
              <a:gd name="T119" fmla="*/ 335 h 3731"/>
              <a:gd name="T120" fmla="*/ 1313 w 3194"/>
              <a:gd name="T121" fmla="*/ 312 h 3731"/>
              <a:gd name="T122" fmla="*/ 1346 w 3194"/>
              <a:gd name="T123" fmla="*/ 47 h 3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4" h="3731">
                <a:moveTo>
                  <a:pt x="2687" y="980"/>
                </a:moveTo>
                <a:lnTo>
                  <a:pt x="2652" y="984"/>
                </a:lnTo>
                <a:lnTo>
                  <a:pt x="2619" y="993"/>
                </a:lnTo>
                <a:lnTo>
                  <a:pt x="2588" y="1007"/>
                </a:lnTo>
                <a:lnTo>
                  <a:pt x="2559" y="1027"/>
                </a:lnTo>
                <a:lnTo>
                  <a:pt x="2535" y="1051"/>
                </a:lnTo>
                <a:lnTo>
                  <a:pt x="2516" y="1078"/>
                </a:lnTo>
                <a:lnTo>
                  <a:pt x="2501" y="1109"/>
                </a:lnTo>
                <a:lnTo>
                  <a:pt x="2492" y="1142"/>
                </a:lnTo>
                <a:lnTo>
                  <a:pt x="2490" y="1177"/>
                </a:lnTo>
                <a:lnTo>
                  <a:pt x="2492" y="1214"/>
                </a:lnTo>
                <a:lnTo>
                  <a:pt x="2501" y="1247"/>
                </a:lnTo>
                <a:lnTo>
                  <a:pt x="2516" y="1278"/>
                </a:lnTo>
                <a:lnTo>
                  <a:pt x="2535" y="1305"/>
                </a:lnTo>
                <a:lnTo>
                  <a:pt x="2559" y="1329"/>
                </a:lnTo>
                <a:lnTo>
                  <a:pt x="2588" y="1348"/>
                </a:lnTo>
                <a:lnTo>
                  <a:pt x="2619" y="1363"/>
                </a:lnTo>
                <a:lnTo>
                  <a:pt x="2652" y="1372"/>
                </a:lnTo>
                <a:lnTo>
                  <a:pt x="2687" y="1375"/>
                </a:lnTo>
                <a:lnTo>
                  <a:pt x="2722" y="1372"/>
                </a:lnTo>
                <a:lnTo>
                  <a:pt x="2757" y="1363"/>
                </a:lnTo>
                <a:lnTo>
                  <a:pt x="2788" y="1348"/>
                </a:lnTo>
                <a:lnTo>
                  <a:pt x="2815" y="1329"/>
                </a:lnTo>
                <a:lnTo>
                  <a:pt x="2839" y="1305"/>
                </a:lnTo>
                <a:lnTo>
                  <a:pt x="2858" y="1278"/>
                </a:lnTo>
                <a:lnTo>
                  <a:pt x="2873" y="1247"/>
                </a:lnTo>
                <a:lnTo>
                  <a:pt x="2882" y="1214"/>
                </a:lnTo>
                <a:lnTo>
                  <a:pt x="2886" y="1177"/>
                </a:lnTo>
                <a:lnTo>
                  <a:pt x="2882" y="1142"/>
                </a:lnTo>
                <a:lnTo>
                  <a:pt x="2873" y="1109"/>
                </a:lnTo>
                <a:lnTo>
                  <a:pt x="2858" y="1078"/>
                </a:lnTo>
                <a:lnTo>
                  <a:pt x="2839" y="1051"/>
                </a:lnTo>
                <a:lnTo>
                  <a:pt x="2815" y="1027"/>
                </a:lnTo>
                <a:lnTo>
                  <a:pt x="2788" y="1007"/>
                </a:lnTo>
                <a:lnTo>
                  <a:pt x="2757" y="993"/>
                </a:lnTo>
                <a:lnTo>
                  <a:pt x="2722" y="984"/>
                </a:lnTo>
                <a:lnTo>
                  <a:pt x="2687" y="980"/>
                </a:lnTo>
                <a:close/>
                <a:moveTo>
                  <a:pt x="1430" y="0"/>
                </a:moveTo>
                <a:lnTo>
                  <a:pt x="1450" y="5"/>
                </a:lnTo>
                <a:lnTo>
                  <a:pt x="1470" y="14"/>
                </a:lnTo>
                <a:lnTo>
                  <a:pt x="1637" y="124"/>
                </a:lnTo>
                <a:lnTo>
                  <a:pt x="1653" y="137"/>
                </a:lnTo>
                <a:lnTo>
                  <a:pt x="1666" y="153"/>
                </a:lnTo>
                <a:lnTo>
                  <a:pt x="1675" y="170"/>
                </a:lnTo>
                <a:lnTo>
                  <a:pt x="1681" y="188"/>
                </a:lnTo>
                <a:lnTo>
                  <a:pt x="1683" y="208"/>
                </a:lnTo>
                <a:lnTo>
                  <a:pt x="1681" y="228"/>
                </a:lnTo>
                <a:lnTo>
                  <a:pt x="1698" y="244"/>
                </a:lnTo>
                <a:lnTo>
                  <a:pt x="1715" y="262"/>
                </a:lnTo>
                <a:lnTo>
                  <a:pt x="1733" y="284"/>
                </a:lnTo>
                <a:lnTo>
                  <a:pt x="1753" y="309"/>
                </a:lnTo>
                <a:lnTo>
                  <a:pt x="1771" y="336"/>
                </a:lnTo>
                <a:lnTo>
                  <a:pt x="1789" y="366"/>
                </a:lnTo>
                <a:lnTo>
                  <a:pt x="1806" y="399"/>
                </a:lnTo>
                <a:lnTo>
                  <a:pt x="1823" y="436"/>
                </a:lnTo>
                <a:lnTo>
                  <a:pt x="1838" y="476"/>
                </a:lnTo>
                <a:lnTo>
                  <a:pt x="1852" y="519"/>
                </a:lnTo>
                <a:lnTo>
                  <a:pt x="1864" y="566"/>
                </a:lnTo>
                <a:lnTo>
                  <a:pt x="1874" y="616"/>
                </a:lnTo>
                <a:lnTo>
                  <a:pt x="1880" y="671"/>
                </a:lnTo>
                <a:lnTo>
                  <a:pt x="1885" y="729"/>
                </a:lnTo>
                <a:lnTo>
                  <a:pt x="1886" y="790"/>
                </a:lnTo>
                <a:lnTo>
                  <a:pt x="1884" y="856"/>
                </a:lnTo>
                <a:lnTo>
                  <a:pt x="1878" y="927"/>
                </a:lnTo>
                <a:lnTo>
                  <a:pt x="1901" y="942"/>
                </a:lnTo>
                <a:lnTo>
                  <a:pt x="1920" y="961"/>
                </a:lnTo>
                <a:lnTo>
                  <a:pt x="1935" y="983"/>
                </a:lnTo>
                <a:lnTo>
                  <a:pt x="1947" y="1008"/>
                </a:lnTo>
                <a:lnTo>
                  <a:pt x="1952" y="1034"/>
                </a:lnTo>
                <a:lnTo>
                  <a:pt x="1952" y="1061"/>
                </a:lnTo>
                <a:lnTo>
                  <a:pt x="1948" y="1090"/>
                </a:lnTo>
                <a:lnTo>
                  <a:pt x="1945" y="1098"/>
                </a:lnTo>
                <a:lnTo>
                  <a:pt x="1942" y="1111"/>
                </a:lnTo>
                <a:lnTo>
                  <a:pt x="1935" y="1132"/>
                </a:lnTo>
                <a:lnTo>
                  <a:pt x="1927" y="1158"/>
                </a:lnTo>
                <a:lnTo>
                  <a:pt x="1917" y="1189"/>
                </a:lnTo>
                <a:lnTo>
                  <a:pt x="1904" y="1225"/>
                </a:lnTo>
                <a:lnTo>
                  <a:pt x="1890" y="1264"/>
                </a:lnTo>
                <a:lnTo>
                  <a:pt x="1872" y="1307"/>
                </a:lnTo>
                <a:lnTo>
                  <a:pt x="1853" y="1354"/>
                </a:lnTo>
                <a:lnTo>
                  <a:pt x="1832" y="1402"/>
                </a:lnTo>
                <a:lnTo>
                  <a:pt x="1810" y="1453"/>
                </a:lnTo>
                <a:lnTo>
                  <a:pt x="1783" y="1505"/>
                </a:lnTo>
                <a:lnTo>
                  <a:pt x="1756" y="1559"/>
                </a:lnTo>
                <a:lnTo>
                  <a:pt x="1725" y="1613"/>
                </a:lnTo>
                <a:lnTo>
                  <a:pt x="1693" y="1667"/>
                </a:lnTo>
                <a:lnTo>
                  <a:pt x="1659" y="1720"/>
                </a:lnTo>
                <a:lnTo>
                  <a:pt x="1621" y="1774"/>
                </a:lnTo>
                <a:lnTo>
                  <a:pt x="1583" y="1825"/>
                </a:lnTo>
                <a:lnTo>
                  <a:pt x="1540" y="1875"/>
                </a:lnTo>
                <a:lnTo>
                  <a:pt x="1496" y="1923"/>
                </a:lnTo>
                <a:lnTo>
                  <a:pt x="1449" y="1967"/>
                </a:lnTo>
                <a:lnTo>
                  <a:pt x="1443" y="1999"/>
                </a:lnTo>
                <a:lnTo>
                  <a:pt x="1433" y="2029"/>
                </a:lnTo>
                <a:lnTo>
                  <a:pt x="1419" y="2057"/>
                </a:lnTo>
                <a:lnTo>
                  <a:pt x="1401" y="2084"/>
                </a:lnTo>
                <a:lnTo>
                  <a:pt x="1380" y="2108"/>
                </a:lnTo>
                <a:lnTo>
                  <a:pt x="1354" y="2129"/>
                </a:lnTo>
                <a:lnTo>
                  <a:pt x="1326" y="2146"/>
                </a:lnTo>
                <a:lnTo>
                  <a:pt x="1267" y="2176"/>
                </a:lnTo>
                <a:lnTo>
                  <a:pt x="1206" y="2199"/>
                </a:lnTo>
                <a:lnTo>
                  <a:pt x="1143" y="2217"/>
                </a:lnTo>
                <a:lnTo>
                  <a:pt x="1081" y="2228"/>
                </a:lnTo>
                <a:lnTo>
                  <a:pt x="1069" y="2273"/>
                </a:lnTo>
                <a:lnTo>
                  <a:pt x="1054" y="2322"/>
                </a:lnTo>
                <a:lnTo>
                  <a:pt x="1037" y="2375"/>
                </a:lnTo>
                <a:lnTo>
                  <a:pt x="1017" y="2432"/>
                </a:lnTo>
                <a:lnTo>
                  <a:pt x="993" y="2492"/>
                </a:lnTo>
                <a:lnTo>
                  <a:pt x="965" y="2556"/>
                </a:lnTo>
                <a:lnTo>
                  <a:pt x="935" y="2623"/>
                </a:lnTo>
                <a:lnTo>
                  <a:pt x="900" y="2692"/>
                </a:lnTo>
                <a:lnTo>
                  <a:pt x="861" y="2762"/>
                </a:lnTo>
                <a:lnTo>
                  <a:pt x="818" y="2834"/>
                </a:lnTo>
                <a:lnTo>
                  <a:pt x="799" y="2870"/>
                </a:lnTo>
                <a:lnTo>
                  <a:pt x="786" y="2906"/>
                </a:lnTo>
                <a:lnTo>
                  <a:pt x="780" y="2941"/>
                </a:lnTo>
                <a:lnTo>
                  <a:pt x="778" y="2975"/>
                </a:lnTo>
                <a:lnTo>
                  <a:pt x="782" y="3008"/>
                </a:lnTo>
                <a:lnTo>
                  <a:pt x="788" y="3039"/>
                </a:lnTo>
                <a:lnTo>
                  <a:pt x="798" y="3068"/>
                </a:lnTo>
                <a:lnTo>
                  <a:pt x="809" y="3096"/>
                </a:lnTo>
                <a:lnTo>
                  <a:pt x="822" y="3121"/>
                </a:lnTo>
                <a:lnTo>
                  <a:pt x="851" y="3167"/>
                </a:lnTo>
                <a:lnTo>
                  <a:pt x="887" y="3211"/>
                </a:lnTo>
                <a:lnTo>
                  <a:pt x="927" y="3253"/>
                </a:lnTo>
                <a:lnTo>
                  <a:pt x="972" y="3290"/>
                </a:lnTo>
                <a:lnTo>
                  <a:pt x="1020" y="3325"/>
                </a:lnTo>
                <a:lnTo>
                  <a:pt x="1074" y="3355"/>
                </a:lnTo>
                <a:lnTo>
                  <a:pt x="1128" y="3383"/>
                </a:lnTo>
                <a:lnTo>
                  <a:pt x="1187" y="3404"/>
                </a:lnTo>
                <a:lnTo>
                  <a:pt x="1247" y="3423"/>
                </a:lnTo>
                <a:lnTo>
                  <a:pt x="1309" y="3436"/>
                </a:lnTo>
                <a:lnTo>
                  <a:pt x="1372" y="3444"/>
                </a:lnTo>
                <a:lnTo>
                  <a:pt x="1435" y="3446"/>
                </a:lnTo>
                <a:lnTo>
                  <a:pt x="1483" y="3444"/>
                </a:lnTo>
                <a:lnTo>
                  <a:pt x="1528" y="3437"/>
                </a:lnTo>
                <a:lnTo>
                  <a:pt x="1570" y="3428"/>
                </a:lnTo>
                <a:lnTo>
                  <a:pt x="1609" y="3415"/>
                </a:lnTo>
                <a:lnTo>
                  <a:pt x="1644" y="3399"/>
                </a:lnTo>
                <a:lnTo>
                  <a:pt x="1677" y="3379"/>
                </a:lnTo>
                <a:lnTo>
                  <a:pt x="1708" y="3359"/>
                </a:lnTo>
                <a:lnTo>
                  <a:pt x="1737" y="3337"/>
                </a:lnTo>
                <a:lnTo>
                  <a:pt x="1762" y="3314"/>
                </a:lnTo>
                <a:lnTo>
                  <a:pt x="1785" y="3290"/>
                </a:lnTo>
                <a:lnTo>
                  <a:pt x="1805" y="3267"/>
                </a:lnTo>
                <a:lnTo>
                  <a:pt x="1823" y="3244"/>
                </a:lnTo>
                <a:lnTo>
                  <a:pt x="1855" y="3195"/>
                </a:lnTo>
                <a:lnTo>
                  <a:pt x="1884" y="3142"/>
                </a:lnTo>
                <a:lnTo>
                  <a:pt x="1909" y="3087"/>
                </a:lnTo>
                <a:lnTo>
                  <a:pt x="1929" y="3027"/>
                </a:lnTo>
                <a:lnTo>
                  <a:pt x="1947" y="2966"/>
                </a:lnTo>
                <a:lnTo>
                  <a:pt x="1959" y="2902"/>
                </a:lnTo>
                <a:lnTo>
                  <a:pt x="1967" y="2835"/>
                </a:lnTo>
                <a:lnTo>
                  <a:pt x="1972" y="2767"/>
                </a:lnTo>
                <a:lnTo>
                  <a:pt x="1972" y="2697"/>
                </a:lnTo>
                <a:lnTo>
                  <a:pt x="1967" y="2627"/>
                </a:lnTo>
                <a:lnTo>
                  <a:pt x="1959" y="2554"/>
                </a:lnTo>
                <a:lnTo>
                  <a:pt x="1947" y="2481"/>
                </a:lnTo>
                <a:lnTo>
                  <a:pt x="1931" y="2408"/>
                </a:lnTo>
                <a:lnTo>
                  <a:pt x="1910" y="2335"/>
                </a:lnTo>
                <a:lnTo>
                  <a:pt x="1888" y="2259"/>
                </a:lnTo>
                <a:lnTo>
                  <a:pt x="1871" y="2185"/>
                </a:lnTo>
                <a:lnTo>
                  <a:pt x="1861" y="2114"/>
                </a:lnTo>
                <a:lnTo>
                  <a:pt x="1854" y="2046"/>
                </a:lnTo>
                <a:lnTo>
                  <a:pt x="1852" y="1981"/>
                </a:lnTo>
                <a:lnTo>
                  <a:pt x="1854" y="1919"/>
                </a:lnTo>
                <a:lnTo>
                  <a:pt x="1861" y="1858"/>
                </a:lnTo>
                <a:lnTo>
                  <a:pt x="1870" y="1800"/>
                </a:lnTo>
                <a:lnTo>
                  <a:pt x="1884" y="1745"/>
                </a:lnTo>
                <a:lnTo>
                  <a:pt x="1900" y="1693"/>
                </a:lnTo>
                <a:lnTo>
                  <a:pt x="1918" y="1643"/>
                </a:lnTo>
                <a:lnTo>
                  <a:pt x="1940" y="1596"/>
                </a:lnTo>
                <a:lnTo>
                  <a:pt x="1963" y="1552"/>
                </a:lnTo>
                <a:lnTo>
                  <a:pt x="1989" y="1510"/>
                </a:lnTo>
                <a:lnTo>
                  <a:pt x="2015" y="1471"/>
                </a:lnTo>
                <a:lnTo>
                  <a:pt x="2044" y="1435"/>
                </a:lnTo>
                <a:lnTo>
                  <a:pt x="2073" y="1400"/>
                </a:lnTo>
                <a:lnTo>
                  <a:pt x="2103" y="1370"/>
                </a:lnTo>
                <a:lnTo>
                  <a:pt x="2133" y="1341"/>
                </a:lnTo>
                <a:lnTo>
                  <a:pt x="2163" y="1315"/>
                </a:lnTo>
                <a:lnTo>
                  <a:pt x="2194" y="1292"/>
                </a:lnTo>
                <a:lnTo>
                  <a:pt x="2186" y="1255"/>
                </a:lnTo>
                <a:lnTo>
                  <a:pt x="2182" y="1217"/>
                </a:lnTo>
                <a:lnTo>
                  <a:pt x="2181" y="1177"/>
                </a:lnTo>
                <a:lnTo>
                  <a:pt x="2184" y="1119"/>
                </a:lnTo>
                <a:lnTo>
                  <a:pt x="2194" y="1061"/>
                </a:lnTo>
                <a:lnTo>
                  <a:pt x="2210" y="1008"/>
                </a:lnTo>
                <a:lnTo>
                  <a:pt x="2232" y="955"/>
                </a:lnTo>
                <a:lnTo>
                  <a:pt x="2259" y="906"/>
                </a:lnTo>
                <a:lnTo>
                  <a:pt x="2291" y="861"/>
                </a:lnTo>
                <a:lnTo>
                  <a:pt x="2329" y="820"/>
                </a:lnTo>
                <a:lnTo>
                  <a:pt x="2370" y="783"/>
                </a:lnTo>
                <a:lnTo>
                  <a:pt x="2416" y="750"/>
                </a:lnTo>
                <a:lnTo>
                  <a:pt x="2465" y="723"/>
                </a:lnTo>
                <a:lnTo>
                  <a:pt x="2516" y="701"/>
                </a:lnTo>
                <a:lnTo>
                  <a:pt x="2571" y="686"/>
                </a:lnTo>
                <a:lnTo>
                  <a:pt x="2628" y="675"/>
                </a:lnTo>
                <a:lnTo>
                  <a:pt x="2687" y="672"/>
                </a:lnTo>
                <a:lnTo>
                  <a:pt x="2746" y="675"/>
                </a:lnTo>
                <a:lnTo>
                  <a:pt x="2804" y="686"/>
                </a:lnTo>
                <a:lnTo>
                  <a:pt x="2858" y="701"/>
                </a:lnTo>
                <a:lnTo>
                  <a:pt x="2911" y="723"/>
                </a:lnTo>
                <a:lnTo>
                  <a:pt x="2959" y="750"/>
                </a:lnTo>
                <a:lnTo>
                  <a:pt x="3004" y="783"/>
                </a:lnTo>
                <a:lnTo>
                  <a:pt x="3045" y="820"/>
                </a:lnTo>
                <a:lnTo>
                  <a:pt x="3083" y="861"/>
                </a:lnTo>
                <a:lnTo>
                  <a:pt x="3115" y="906"/>
                </a:lnTo>
                <a:lnTo>
                  <a:pt x="3142" y="955"/>
                </a:lnTo>
                <a:lnTo>
                  <a:pt x="3165" y="1008"/>
                </a:lnTo>
                <a:lnTo>
                  <a:pt x="3181" y="1061"/>
                </a:lnTo>
                <a:lnTo>
                  <a:pt x="3190" y="1119"/>
                </a:lnTo>
                <a:lnTo>
                  <a:pt x="3194" y="1177"/>
                </a:lnTo>
                <a:lnTo>
                  <a:pt x="3190" y="1237"/>
                </a:lnTo>
                <a:lnTo>
                  <a:pt x="3181" y="1293"/>
                </a:lnTo>
                <a:lnTo>
                  <a:pt x="3165" y="1348"/>
                </a:lnTo>
                <a:lnTo>
                  <a:pt x="3142" y="1400"/>
                </a:lnTo>
                <a:lnTo>
                  <a:pt x="3115" y="1449"/>
                </a:lnTo>
                <a:lnTo>
                  <a:pt x="3083" y="1494"/>
                </a:lnTo>
                <a:lnTo>
                  <a:pt x="3045" y="1536"/>
                </a:lnTo>
                <a:lnTo>
                  <a:pt x="3004" y="1572"/>
                </a:lnTo>
                <a:lnTo>
                  <a:pt x="2959" y="1605"/>
                </a:lnTo>
                <a:lnTo>
                  <a:pt x="2911" y="1633"/>
                </a:lnTo>
                <a:lnTo>
                  <a:pt x="2858" y="1654"/>
                </a:lnTo>
                <a:lnTo>
                  <a:pt x="2804" y="1670"/>
                </a:lnTo>
                <a:lnTo>
                  <a:pt x="2746" y="1681"/>
                </a:lnTo>
                <a:lnTo>
                  <a:pt x="2687" y="1684"/>
                </a:lnTo>
                <a:lnTo>
                  <a:pt x="2630" y="1681"/>
                </a:lnTo>
                <a:lnTo>
                  <a:pt x="2574" y="1671"/>
                </a:lnTo>
                <a:lnTo>
                  <a:pt x="2521" y="1656"/>
                </a:lnTo>
                <a:lnTo>
                  <a:pt x="2469" y="1635"/>
                </a:lnTo>
                <a:lnTo>
                  <a:pt x="2421" y="1609"/>
                </a:lnTo>
                <a:lnTo>
                  <a:pt x="2377" y="1577"/>
                </a:lnTo>
                <a:lnTo>
                  <a:pt x="2336" y="1542"/>
                </a:lnTo>
                <a:lnTo>
                  <a:pt x="2317" y="1559"/>
                </a:lnTo>
                <a:lnTo>
                  <a:pt x="2297" y="1577"/>
                </a:lnTo>
                <a:lnTo>
                  <a:pt x="2277" y="1599"/>
                </a:lnTo>
                <a:lnTo>
                  <a:pt x="2257" y="1623"/>
                </a:lnTo>
                <a:lnTo>
                  <a:pt x="2238" y="1649"/>
                </a:lnTo>
                <a:lnTo>
                  <a:pt x="2218" y="1677"/>
                </a:lnTo>
                <a:lnTo>
                  <a:pt x="2200" y="1709"/>
                </a:lnTo>
                <a:lnTo>
                  <a:pt x="2184" y="1743"/>
                </a:lnTo>
                <a:lnTo>
                  <a:pt x="2169" y="1780"/>
                </a:lnTo>
                <a:lnTo>
                  <a:pt x="2158" y="1819"/>
                </a:lnTo>
                <a:lnTo>
                  <a:pt x="2147" y="1863"/>
                </a:lnTo>
                <a:lnTo>
                  <a:pt x="2141" y="1908"/>
                </a:lnTo>
                <a:lnTo>
                  <a:pt x="2137" y="1957"/>
                </a:lnTo>
                <a:lnTo>
                  <a:pt x="2137" y="2010"/>
                </a:lnTo>
                <a:lnTo>
                  <a:pt x="2142" y="2064"/>
                </a:lnTo>
                <a:lnTo>
                  <a:pt x="2150" y="2122"/>
                </a:lnTo>
                <a:lnTo>
                  <a:pt x="2163" y="2185"/>
                </a:lnTo>
                <a:lnTo>
                  <a:pt x="2182" y="2250"/>
                </a:lnTo>
                <a:lnTo>
                  <a:pt x="2207" y="2336"/>
                </a:lnTo>
                <a:lnTo>
                  <a:pt x="2226" y="2423"/>
                </a:lnTo>
                <a:lnTo>
                  <a:pt x="2241" y="2508"/>
                </a:lnTo>
                <a:lnTo>
                  <a:pt x="2251" y="2594"/>
                </a:lnTo>
                <a:lnTo>
                  <a:pt x="2257" y="2678"/>
                </a:lnTo>
                <a:lnTo>
                  <a:pt x="2258" y="2761"/>
                </a:lnTo>
                <a:lnTo>
                  <a:pt x="2254" y="2843"/>
                </a:lnTo>
                <a:lnTo>
                  <a:pt x="2244" y="2923"/>
                </a:lnTo>
                <a:lnTo>
                  <a:pt x="2232" y="3000"/>
                </a:lnTo>
                <a:lnTo>
                  <a:pt x="2214" y="3076"/>
                </a:lnTo>
                <a:lnTo>
                  <a:pt x="2191" y="3149"/>
                </a:lnTo>
                <a:lnTo>
                  <a:pt x="2163" y="3220"/>
                </a:lnTo>
                <a:lnTo>
                  <a:pt x="2131" y="3287"/>
                </a:lnTo>
                <a:lnTo>
                  <a:pt x="2095" y="3351"/>
                </a:lnTo>
                <a:lnTo>
                  <a:pt x="2054" y="3411"/>
                </a:lnTo>
                <a:lnTo>
                  <a:pt x="2010" y="3466"/>
                </a:lnTo>
                <a:lnTo>
                  <a:pt x="1964" y="3515"/>
                </a:lnTo>
                <a:lnTo>
                  <a:pt x="1915" y="3559"/>
                </a:lnTo>
                <a:lnTo>
                  <a:pt x="1863" y="3599"/>
                </a:lnTo>
                <a:lnTo>
                  <a:pt x="1809" y="3633"/>
                </a:lnTo>
                <a:lnTo>
                  <a:pt x="1751" y="3663"/>
                </a:lnTo>
                <a:lnTo>
                  <a:pt x="1692" y="3687"/>
                </a:lnTo>
                <a:lnTo>
                  <a:pt x="1631" y="3706"/>
                </a:lnTo>
                <a:lnTo>
                  <a:pt x="1568" y="3720"/>
                </a:lnTo>
                <a:lnTo>
                  <a:pt x="1503" y="3729"/>
                </a:lnTo>
                <a:lnTo>
                  <a:pt x="1435" y="3731"/>
                </a:lnTo>
                <a:lnTo>
                  <a:pt x="1359" y="3728"/>
                </a:lnTo>
                <a:lnTo>
                  <a:pt x="1283" y="3720"/>
                </a:lnTo>
                <a:lnTo>
                  <a:pt x="1208" y="3706"/>
                </a:lnTo>
                <a:lnTo>
                  <a:pt x="1135" y="3687"/>
                </a:lnTo>
                <a:lnTo>
                  <a:pt x="1063" y="3663"/>
                </a:lnTo>
                <a:lnTo>
                  <a:pt x="995" y="3634"/>
                </a:lnTo>
                <a:lnTo>
                  <a:pt x="929" y="3601"/>
                </a:lnTo>
                <a:lnTo>
                  <a:pt x="865" y="3563"/>
                </a:lnTo>
                <a:lnTo>
                  <a:pt x="806" y="3522"/>
                </a:lnTo>
                <a:lnTo>
                  <a:pt x="750" y="3476"/>
                </a:lnTo>
                <a:lnTo>
                  <a:pt x="698" y="3426"/>
                </a:lnTo>
                <a:lnTo>
                  <a:pt x="650" y="3374"/>
                </a:lnTo>
                <a:lnTo>
                  <a:pt x="609" y="3318"/>
                </a:lnTo>
                <a:lnTo>
                  <a:pt x="573" y="3259"/>
                </a:lnTo>
                <a:lnTo>
                  <a:pt x="544" y="3201"/>
                </a:lnTo>
                <a:lnTo>
                  <a:pt x="521" y="3141"/>
                </a:lnTo>
                <a:lnTo>
                  <a:pt x="505" y="3082"/>
                </a:lnTo>
                <a:lnTo>
                  <a:pt x="496" y="3023"/>
                </a:lnTo>
                <a:lnTo>
                  <a:pt x="493" y="2964"/>
                </a:lnTo>
                <a:lnTo>
                  <a:pt x="497" y="2906"/>
                </a:lnTo>
                <a:lnTo>
                  <a:pt x="507" y="2848"/>
                </a:lnTo>
                <a:lnTo>
                  <a:pt x="524" y="2792"/>
                </a:lnTo>
                <a:lnTo>
                  <a:pt x="547" y="2736"/>
                </a:lnTo>
                <a:lnTo>
                  <a:pt x="576" y="2684"/>
                </a:lnTo>
                <a:lnTo>
                  <a:pt x="616" y="2615"/>
                </a:lnTo>
                <a:lnTo>
                  <a:pt x="653" y="2549"/>
                </a:lnTo>
                <a:lnTo>
                  <a:pt x="685" y="2486"/>
                </a:lnTo>
                <a:lnTo>
                  <a:pt x="713" y="2424"/>
                </a:lnTo>
                <a:lnTo>
                  <a:pt x="737" y="2365"/>
                </a:lnTo>
                <a:lnTo>
                  <a:pt x="758" y="2310"/>
                </a:lnTo>
                <a:lnTo>
                  <a:pt x="775" y="2259"/>
                </a:lnTo>
                <a:lnTo>
                  <a:pt x="790" y="2212"/>
                </a:lnTo>
                <a:lnTo>
                  <a:pt x="728" y="2193"/>
                </a:lnTo>
                <a:lnTo>
                  <a:pt x="668" y="2169"/>
                </a:lnTo>
                <a:lnTo>
                  <a:pt x="608" y="2138"/>
                </a:lnTo>
                <a:lnTo>
                  <a:pt x="579" y="2120"/>
                </a:lnTo>
                <a:lnTo>
                  <a:pt x="555" y="2097"/>
                </a:lnTo>
                <a:lnTo>
                  <a:pt x="533" y="2072"/>
                </a:lnTo>
                <a:lnTo>
                  <a:pt x="516" y="2045"/>
                </a:lnTo>
                <a:lnTo>
                  <a:pt x="502" y="2015"/>
                </a:lnTo>
                <a:lnTo>
                  <a:pt x="493" y="1985"/>
                </a:lnTo>
                <a:lnTo>
                  <a:pt x="487" y="1953"/>
                </a:lnTo>
                <a:lnTo>
                  <a:pt x="443" y="1907"/>
                </a:lnTo>
                <a:lnTo>
                  <a:pt x="399" y="1860"/>
                </a:lnTo>
                <a:lnTo>
                  <a:pt x="359" y="1810"/>
                </a:lnTo>
                <a:lnTo>
                  <a:pt x="321" y="1759"/>
                </a:lnTo>
                <a:lnTo>
                  <a:pt x="285" y="1707"/>
                </a:lnTo>
                <a:lnTo>
                  <a:pt x="252" y="1653"/>
                </a:lnTo>
                <a:lnTo>
                  <a:pt x="220" y="1601"/>
                </a:lnTo>
                <a:lnTo>
                  <a:pt x="192" y="1547"/>
                </a:lnTo>
                <a:lnTo>
                  <a:pt x="164" y="1495"/>
                </a:lnTo>
                <a:lnTo>
                  <a:pt x="139" y="1444"/>
                </a:lnTo>
                <a:lnTo>
                  <a:pt x="118" y="1394"/>
                </a:lnTo>
                <a:lnTo>
                  <a:pt x="97" y="1346"/>
                </a:lnTo>
                <a:lnTo>
                  <a:pt x="79" y="1301"/>
                </a:lnTo>
                <a:lnTo>
                  <a:pt x="62" y="1259"/>
                </a:lnTo>
                <a:lnTo>
                  <a:pt x="48" y="1221"/>
                </a:lnTo>
                <a:lnTo>
                  <a:pt x="35" y="1186"/>
                </a:lnTo>
                <a:lnTo>
                  <a:pt x="25" y="1157"/>
                </a:lnTo>
                <a:lnTo>
                  <a:pt x="17" y="1131"/>
                </a:lnTo>
                <a:lnTo>
                  <a:pt x="11" y="1111"/>
                </a:lnTo>
                <a:lnTo>
                  <a:pt x="7" y="1098"/>
                </a:lnTo>
                <a:lnTo>
                  <a:pt x="5" y="1090"/>
                </a:lnTo>
                <a:lnTo>
                  <a:pt x="0" y="1061"/>
                </a:lnTo>
                <a:lnTo>
                  <a:pt x="1" y="1034"/>
                </a:lnTo>
                <a:lnTo>
                  <a:pt x="7" y="1008"/>
                </a:lnTo>
                <a:lnTo>
                  <a:pt x="18" y="983"/>
                </a:lnTo>
                <a:lnTo>
                  <a:pt x="33" y="961"/>
                </a:lnTo>
                <a:lnTo>
                  <a:pt x="52" y="942"/>
                </a:lnTo>
                <a:lnTo>
                  <a:pt x="75" y="927"/>
                </a:lnTo>
                <a:lnTo>
                  <a:pt x="70" y="856"/>
                </a:lnTo>
                <a:lnTo>
                  <a:pt x="67" y="790"/>
                </a:lnTo>
                <a:lnTo>
                  <a:pt x="68" y="729"/>
                </a:lnTo>
                <a:lnTo>
                  <a:pt x="72" y="671"/>
                </a:lnTo>
                <a:lnTo>
                  <a:pt x="80" y="616"/>
                </a:lnTo>
                <a:lnTo>
                  <a:pt x="89" y="566"/>
                </a:lnTo>
                <a:lnTo>
                  <a:pt x="100" y="519"/>
                </a:lnTo>
                <a:lnTo>
                  <a:pt x="114" y="476"/>
                </a:lnTo>
                <a:lnTo>
                  <a:pt x="130" y="436"/>
                </a:lnTo>
                <a:lnTo>
                  <a:pt x="146" y="400"/>
                </a:lnTo>
                <a:lnTo>
                  <a:pt x="164" y="366"/>
                </a:lnTo>
                <a:lnTo>
                  <a:pt x="183" y="336"/>
                </a:lnTo>
                <a:lnTo>
                  <a:pt x="201" y="309"/>
                </a:lnTo>
                <a:lnTo>
                  <a:pt x="219" y="284"/>
                </a:lnTo>
                <a:lnTo>
                  <a:pt x="237" y="263"/>
                </a:lnTo>
                <a:lnTo>
                  <a:pt x="256" y="244"/>
                </a:lnTo>
                <a:lnTo>
                  <a:pt x="272" y="228"/>
                </a:lnTo>
                <a:lnTo>
                  <a:pt x="270" y="208"/>
                </a:lnTo>
                <a:lnTo>
                  <a:pt x="273" y="188"/>
                </a:lnTo>
                <a:lnTo>
                  <a:pt x="278" y="170"/>
                </a:lnTo>
                <a:lnTo>
                  <a:pt x="288" y="153"/>
                </a:lnTo>
                <a:lnTo>
                  <a:pt x="300" y="137"/>
                </a:lnTo>
                <a:lnTo>
                  <a:pt x="315" y="124"/>
                </a:lnTo>
                <a:lnTo>
                  <a:pt x="484" y="15"/>
                </a:lnTo>
                <a:lnTo>
                  <a:pt x="503" y="5"/>
                </a:lnTo>
                <a:lnTo>
                  <a:pt x="523" y="0"/>
                </a:lnTo>
                <a:lnTo>
                  <a:pt x="543" y="0"/>
                </a:lnTo>
                <a:lnTo>
                  <a:pt x="563" y="6"/>
                </a:lnTo>
                <a:lnTo>
                  <a:pt x="580" y="15"/>
                </a:lnTo>
                <a:lnTo>
                  <a:pt x="594" y="29"/>
                </a:lnTo>
                <a:lnTo>
                  <a:pt x="607" y="47"/>
                </a:lnTo>
                <a:lnTo>
                  <a:pt x="687" y="202"/>
                </a:lnTo>
                <a:lnTo>
                  <a:pt x="695" y="221"/>
                </a:lnTo>
                <a:lnTo>
                  <a:pt x="697" y="241"/>
                </a:lnTo>
                <a:lnTo>
                  <a:pt x="694" y="260"/>
                </a:lnTo>
                <a:lnTo>
                  <a:pt x="687" y="277"/>
                </a:lnTo>
                <a:lnTo>
                  <a:pt x="675" y="292"/>
                </a:lnTo>
                <a:lnTo>
                  <a:pt x="660" y="304"/>
                </a:lnTo>
                <a:lnTo>
                  <a:pt x="639" y="312"/>
                </a:lnTo>
                <a:lnTo>
                  <a:pt x="450" y="368"/>
                </a:lnTo>
                <a:lnTo>
                  <a:pt x="424" y="372"/>
                </a:lnTo>
                <a:lnTo>
                  <a:pt x="399" y="371"/>
                </a:lnTo>
                <a:lnTo>
                  <a:pt x="375" y="364"/>
                </a:lnTo>
                <a:lnTo>
                  <a:pt x="353" y="353"/>
                </a:lnTo>
                <a:lnTo>
                  <a:pt x="332" y="337"/>
                </a:lnTo>
                <a:lnTo>
                  <a:pt x="316" y="318"/>
                </a:lnTo>
                <a:lnTo>
                  <a:pt x="300" y="335"/>
                </a:lnTo>
                <a:lnTo>
                  <a:pt x="284" y="354"/>
                </a:lnTo>
                <a:lnTo>
                  <a:pt x="268" y="377"/>
                </a:lnTo>
                <a:lnTo>
                  <a:pt x="252" y="403"/>
                </a:lnTo>
                <a:lnTo>
                  <a:pt x="236" y="432"/>
                </a:lnTo>
                <a:lnTo>
                  <a:pt x="220" y="463"/>
                </a:lnTo>
                <a:lnTo>
                  <a:pt x="207" y="499"/>
                </a:lnTo>
                <a:lnTo>
                  <a:pt x="194" y="537"/>
                </a:lnTo>
                <a:lnTo>
                  <a:pt x="183" y="580"/>
                </a:lnTo>
                <a:lnTo>
                  <a:pt x="173" y="625"/>
                </a:lnTo>
                <a:lnTo>
                  <a:pt x="167" y="675"/>
                </a:lnTo>
                <a:lnTo>
                  <a:pt x="162" y="729"/>
                </a:lnTo>
                <a:lnTo>
                  <a:pt x="161" y="786"/>
                </a:lnTo>
                <a:lnTo>
                  <a:pt x="163" y="847"/>
                </a:lnTo>
                <a:lnTo>
                  <a:pt x="169" y="912"/>
                </a:lnTo>
                <a:lnTo>
                  <a:pt x="194" y="920"/>
                </a:lnTo>
                <a:lnTo>
                  <a:pt x="217" y="931"/>
                </a:lnTo>
                <a:lnTo>
                  <a:pt x="238" y="946"/>
                </a:lnTo>
                <a:lnTo>
                  <a:pt x="256" y="966"/>
                </a:lnTo>
                <a:lnTo>
                  <a:pt x="270" y="988"/>
                </a:lnTo>
                <a:lnTo>
                  <a:pt x="280" y="1013"/>
                </a:lnTo>
                <a:lnTo>
                  <a:pt x="292" y="1053"/>
                </a:lnTo>
                <a:lnTo>
                  <a:pt x="307" y="1099"/>
                </a:lnTo>
                <a:lnTo>
                  <a:pt x="324" y="1149"/>
                </a:lnTo>
                <a:lnTo>
                  <a:pt x="345" y="1202"/>
                </a:lnTo>
                <a:lnTo>
                  <a:pt x="367" y="1258"/>
                </a:lnTo>
                <a:lnTo>
                  <a:pt x="394" y="1316"/>
                </a:lnTo>
                <a:lnTo>
                  <a:pt x="422" y="1375"/>
                </a:lnTo>
                <a:lnTo>
                  <a:pt x="453" y="1435"/>
                </a:lnTo>
                <a:lnTo>
                  <a:pt x="487" y="1494"/>
                </a:lnTo>
                <a:lnTo>
                  <a:pt x="523" y="1552"/>
                </a:lnTo>
                <a:lnTo>
                  <a:pt x="561" y="1607"/>
                </a:lnTo>
                <a:lnTo>
                  <a:pt x="602" y="1660"/>
                </a:lnTo>
                <a:lnTo>
                  <a:pt x="646" y="1709"/>
                </a:lnTo>
                <a:lnTo>
                  <a:pt x="677" y="1700"/>
                </a:lnTo>
                <a:lnTo>
                  <a:pt x="710" y="1695"/>
                </a:lnTo>
                <a:lnTo>
                  <a:pt x="743" y="1695"/>
                </a:lnTo>
                <a:lnTo>
                  <a:pt x="776" y="1700"/>
                </a:lnTo>
                <a:lnTo>
                  <a:pt x="809" y="1710"/>
                </a:lnTo>
                <a:lnTo>
                  <a:pt x="840" y="1725"/>
                </a:lnTo>
                <a:lnTo>
                  <a:pt x="883" y="1745"/>
                </a:lnTo>
                <a:lnTo>
                  <a:pt x="927" y="1758"/>
                </a:lnTo>
                <a:lnTo>
                  <a:pt x="970" y="1763"/>
                </a:lnTo>
                <a:lnTo>
                  <a:pt x="979" y="1763"/>
                </a:lnTo>
                <a:lnTo>
                  <a:pt x="1020" y="1758"/>
                </a:lnTo>
                <a:lnTo>
                  <a:pt x="1061" y="1747"/>
                </a:lnTo>
                <a:lnTo>
                  <a:pt x="1102" y="1728"/>
                </a:lnTo>
                <a:lnTo>
                  <a:pt x="1135" y="1715"/>
                </a:lnTo>
                <a:lnTo>
                  <a:pt x="1168" y="1706"/>
                </a:lnTo>
                <a:lnTo>
                  <a:pt x="1202" y="1701"/>
                </a:lnTo>
                <a:lnTo>
                  <a:pt x="1235" y="1702"/>
                </a:lnTo>
                <a:lnTo>
                  <a:pt x="1268" y="1708"/>
                </a:lnTo>
                <a:lnTo>
                  <a:pt x="1300" y="1717"/>
                </a:lnTo>
                <a:lnTo>
                  <a:pt x="1341" y="1673"/>
                </a:lnTo>
                <a:lnTo>
                  <a:pt x="1380" y="1624"/>
                </a:lnTo>
                <a:lnTo>
                  <a:pt x="1417" y="1571"/>
                </a:lnTo>
                <a:lnTo>
                  <a:pt x="1451" y="1518"/>
                </a:lnTo>
                <a:lnTo>
                  <a:pt x="1484" y="1463"/>
                </a:lnTo>
                <a:lnTo>
                  <a:pt x="1514" y="1407"/>
                </a:lnTo>
                <a:lnTo>
                  <a:pt x="1543" y="1350"/>
                </a:lnTo>
                <a:lnTo>
                  <a:pt x="1569" y="1296"/>
                </a:lnTo>
                <a:lnTo>
                  <a:pt x="1593" y="1241"/>
                </a:lnTo>
                <a:lnTo>
                  <a:pt x="1613" y="1189"/>
                </a:lnTo>
                <a:lnTo>
                  <a:pt x="1633" y="1140"/>
                </a:lnTo>
                <a:lnTo>
                  <a:pt x="1649" y="1093"/>
                </a:lnTo>
                <a:lnTo>
                  <a:pt x="1662" y="1051"/>
                </a:lnTo>
                <a:lnTo>
                  <a:pt x="1673" y="1013"/>
                </a:lnTo>
                <a:lnTo>
                  <a:pt x="1683" y="988"/>
                </a:lnTo>
                <a:lnTo>
                  <a:pt x="1697" y="966"/>
                </a:lnTo>
                <a:lnTo>
                  <a:pt x="1715" y="946"/>
                </a:lnTo>
                <a:lnTo>
                  <a:pt x="1736" y="931"/>
                </a:lnTo>
                <a:lnTo>
                  <a:pt x="1759" y="920"/>
                </a:lnTo>
                <a:lnTo>
                  <a:pt x="1785" y="912"/>
                </a:lnTo>
                <a:lnTo>
                  <a:pt x="1790" y="847"/>
                </a:lnTo>
                <a:lnTo>
                  <a:pt x="1791" y="786"/>
                </a:lnTo>
                <a:lnTo>
                  <a:pt x="1790" y="729"/>
                </a:lnTo>
                <a:lnTo>
                  <a:pt x="1787" y="675"/>
                </a:lnTo>
                <a:lnTo>
                  <a:pt x="1780" y="625"/>
                </a:lnTo>
                <a:lnTo>
                  <a:pt x="1771" y="580"/>
                </a:lnTo>
                <a:lnTo>
                  <a:pt x="1759" y="537"/>
                </a:lnTo>
                <a:lnTo>
                  <a:pt x="1747" y="499"/>
                </a:lnTo>
                <a:lnTo>
                  <a:pt x="1732" y="463"/>
                </a:lnTo>
                <a:lnTo>
                  <a:pt x="1717" y="432"/>
                </a:lnTo>
                <a:lnTo>
                  <a:pt x="1701" y="403"/>
                </a:lnTo>
                <a:lnTo>
                  <a:pt x="1685" y="377"/>
                </a:lnTo>
                <a:lnTo>
                  <a:pt x="1668" y="354"/>
                </a:lnTo>
                <a:lnTo>
                  <a:pt x="1652" y="335"/>
                </a:lnTo>
                <a:lnTo>
                  <a:pt x="1637" y="318"/>
                </a:lnTo>
                <a:lnTo>
                  <a:pt x="1621" y="337"/>
                </a:lnTo>
                <a:lnTo>
                  <a:pt x="1601" y="352"/>
                </a:lnTo>
                <a:lnTo>
                  <a:pt x="1578" y="364"/>
                </a:lnTo>
                <a:lnTo>
                  <a:pt x="1554" y="371"/>
                </a:lnTo>
                <a:lnTo>
                  <a:pt x="1529" y="372"/>
                </a:lnTo>
                <a:lnTo>
                  <a:pt x="1504" y="368"/>
                </a:lnTo>
                <a:lnTo>
                  <a:pt x="1313" y="312"/>
                </a:lnTo>
                <a:lnTo>
                  <a:pt x="1294" y="304"/>
                </a:lnTo>
                <a:lnTo>
                  <a:pt x="1278" y="292"/>
                </a:lnTo>
                <a:lnTo>
                  <a:pt x="1267" y="277"/>
                </a:lnTo>
                <a:lnTo>
                  <a:pt x="1259" y="260"/>
                </a:lnTo>
                <a:lnTo>
                  <a:pt x="1256" y="241"/>
                </a:lnTo>
                <a:lnTo>
                  <a:pt x="1259" y="221"/>
                </a:lnTo>
                <a:lnTo>
                  <a:pt x="1267" y="202"/>
                </a:lnTo>
                <a:lnTo>
                  <a:pt x="1346" y="47"/>
                </a:lnTo>
                <a:lnTo>
                  <a:pt x="1359" y="29"/>
                </a:lnTo>
                <a:lnTo>
                  <a:pt x="1374" y="15"/>
                </a:lnTo>
                <a:lnTo>
                  <a:pt x="1391" y="6"/>
                </a:lnTo>
                <a:lnTo>
                  <a:pt x="1410" y="0"/>
                </a:lnTo>
                <a:lnTo>
                  <a:pt x="143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124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3176"/>
            <a:ext cx="12188825" cy="18122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0" y="3176"/>
            <a:ext cx="6593305" cy="1741402"/>
          </a:xfrm>
          <a:custGeom>
            <a:avLst/>
            <a:gdLst>
              <a:gd name="T0" fmla="*/ 0 w 5090"/>
              <a:gd name="T1" fmla="*/ 0 h 2572"/>
              <a:gd name="T2" fmla="*/ 5090 w 5090"/>
              <a:gd name="T3" fmla="*/ 0 h 2572"/>
              <a:gd name="T4" fmla="*/ 4274 w 5090"/>
              <a:gd name="T5" fmla="*/ 2176 h 2572"/>
              <a:gd name="T6" fmla="*/ 4272 w 5090"/>
              <a:gd name="T7" fmla="*/ 2179 h 2572"/>
              <a:gd name="T8" fmla="*/ 4269 w 5090"/>
              <a:gd name="T9" fmla="*/ 2188 h 2572"/>
              <a:gd name="T10" fmla="*/ 4264 w 5090"/>
              <a:gd name="T11" fmla="*/ 2202 h 2572"/>
              <a:gd name="T12" fmla="*/ 4257 w 5090"/>
              <a:gd name="T13" fmla="*/ 2221 h 2572"/>
              <a:gd name="T14" fmla="*/ 4246 w 5090"/>
              <a:gd name="T15" fmla="*/ 2244 h 2572"/>
              <a:gd name="T16" fmla="*/ 4234 w 5090"/>
              <a:gd name="T17" fmla="*/ 2270 h 2572"/>
              <a:gd name="T18" fmla="*/ 4218 w 5090"/>
              <a:gd name="T19" fmla="*/ 2298 h 2572"/>
              <a:gd name="T20" fmla="*/ 4200 w 5090"/>
              <a:gd name="T21" fmla="*/ 2328 h 2572"/>
              <a:gd name="T22" fmla="*/ 4177 w 5090"/>
              <a:gd name="T23" fmla="*/ 2359 h 2572"/>
              <a:gd name="T24" fmla="*/ 4150 w 5090"/>
              <a:gd name="T25" fmla="*/ 2390 h 2572"/>
              <a:gd name="T26" fmla="*/ 4121 w 5090"/>
              <a:gd name="T27" fmla="*/ 2421 h 2572"/>
              <a:gd name="T28" fmla="*/ 4089 w 5090"/>
              <a:gd name="T29" fmla="*/ 2450 h 2572"/>
              <a:gd name="T30" fmla="*/ 4052 w 5090"/>
              <a:gd name="T31" fmla="*/ 2480 h 2572"/>
              <a:gd name="T32" fmla="*/ 4010 w 5090"/>
              <a:gd name="T33" fmla="*/ 2504 h 2572"/>
              <a:gd name="T34" fmla="*/ 3964 w 5090"/>
              <a:gd name="T35" fmla="*/ 2527 h 2572"/>
              <a:gd name="T36" fmla="*/ 3914 w 5090"/>
              <a:gd name="T37" fmla="*/ 2546 h 2572"/>
              <a:gd name="T38" fmla="*/ 3859 w 5090"/>
              <a:gd name="T39" fmla="*/ 2560 h 2572"/>
              <a:gd name="T40" fmla="*/ 3800 w 5090"/>
              <a:gd name="T41" fmla="*/ 2569 h 2572"/>
              <a:gd name="T42" fmla="*/ 3735 w 5090"/>
              <a:gd name="T43" fmla="*/ 2572 h 2572"/>
              <a:gd name="T44" fmla="*/ 0 w 5090"/>
              <a:gd name="T45" fmla="*/ 2572 h 2572"/>
              <a:gd name="T46" fmla="*/ 0 w 5090"/>
              <a:gd name="T47" fmla="*/ 0 h 2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090" h="2572">
                <a:moveTo>
                  <a:pt x="0" y="0"/>
                </a:moveTo>
                <a:lnTo>
                  <a:pt x="5090" y="0"/>
                </a:lnTo>
                <a:lnTo>
                  <a:pt x="4274" y="2176"/>
                </a:lnTo>
                <a:lnTo>
                  <a:pt x="4272" y="2179"/>
                </a:lnTo>
                <a:lnTo>
                  <a:pt x="4269" y="2188"/>
                </a:lnTo>
                <a:lnTo>
                  <a:pt x="4264" y="2202"/>
                </a:lnTo>
                <a:lnTo>
                  <a:pt x="4257" y="2221"/>
                </a:lnTo>
                <a:lnTo>
                  <a:pt x="4246" y="2244"/>
                </a:lnTo>
                <a:lnTo>
                  <a:pt x="4234" y="2270"/>
                </a:lnTo>
                <a:lnTo>
                  <a:pt x="4218" y="2298"/>
                </a:lnTo>
                <a:lnTo>
                  <a:pt x="4200" y="2328"/>
                </a:lnTo>
                <a:lnTo>
                  <a:pt x="4177" y="2359"/>
                </a:lnTo>
                <a:lnTo>
                  <a:pt x="4150" y="2390"/>
                </a:lnTo>
                <a:lnTo>
                  <a:pt x="4121" y="2421"/>
                </a:lnTo>
                <a:lnTo>
                  <a:pt x="4089" y="2450"/>
                </a:lnTo>
                <a:lnTo>
                  <a:pt x="4052" y="2480"/>
                </a:lnTo>
                <a:lnTo>
                  <a:pt x="4010" y="2504"/>
                </a:lnTo>
                <a:lnTo>
                  <a:pt x="3964" y="2527"/>
                </a:lnTo>
                <a:lnTo>
                  <a:pt x="3914" y="2546"/>
                </a:lnTo>
                <a:lnTo>
                  <a:pt x="3859" y="2560"/>
                </a:lnTo>
                <a:lnTo>
                  <a:pt x="3800" y="2569"/>
                </a:lnTo>
                <a:lnTo>
                  <a:pt x="3735" y="2572"/>
                </a:lnTo>
                <a:lnTo>
                  <a:pt x="0" y="257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TextBox 27"/>
          <p:cNvSpPr txBox="1"/>
          <p:nvPr/>
        </p:nvSpPr>
        <p:spPr>
          <a:xfrm>
            <a:off x="942039" y="751763"/>
            <a:ext cx="5373907" cy="832857"/>
          </a:xfrm>
          <a:prstGeom prst="rect">
            <a:avLst/>
          </a:prstGeom>
          <a:noFill/>
          <a:ln>
            <a:noFill/>
          </a:ln>
        </p:spPr>
        <p:txBody>
          <a:bodyPr wrap="none" tIns="0" bIns="0" rtlCol="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en-IN" sz="66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Current Trend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6405" y="2976757"/>
            <a:ext cx="10731321" cy="27907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 Analytics:  Design for Analytic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 as a Produ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</a:rPr>
              <a:t>APIs become brand drive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>
                <a:latin typeface="+mj-lt"/>
                <a:cs typeface="Calibri"/>
              </a:rPr>
              <a:t>Enterprises who embraced APIs break away in their industries</a:t>
            </a:r>
          </a:p>
        </p:txBody>
      </p:sp>
      <p:sp>
        <p:nvSpPr>
          <p:cNvPr id="41" name="Oval 40"/>
          <p:cNvSpPr/>
          <p:nvPr/>
        </p:nvSpPr>
        <p:spPr>
          <a:xfrm>
            <a:off x="7090117" y="872197"/>
            <a:ext cx="253218" cy="25321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Oval 41"/>
          <p:cNvSpPr/>
          <p:nvPr/>
        </p:nvSpPr>
        <p:spPr>
          <a:xfrm>
            <a:off x="8165449" y="1853223"/>
            <a:ext cx="365758" cy="365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3" name="Oval 42"/>
          <p:cNvSpPr/>
          <p:nvPr/>
        </p:nvSpPr>
        <p:spPr>
          <a:xfrm>
            <a:off x="8024437" y="479723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Oval 43"/>
          <p:cNvSpPr/>
          <p:nvPr/>
        </p:nvSpPr>
        <p:spPr>
          <a:xfrm>
            <a:off x="6436769" y="1955306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5" name="Oval 44"/>
          <p:cNvSpPr/>
          <p:nvPr/>
        </p:nvSpPr>
        <p:spPr>
          <a:xfrm>
            <a:off x="7372147" y="2085843"/>
            <a:ext cx="225472" cy="2254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Oval 45"/>
          <p:cNvSpPr/>
          <p:nvPr/>
        </p:nvSpPr>
        <p:spPr>
          <a:xfrm>
            <a:off x="8873268" y="2305242"/>
            <a:ext cx="143234" cy="1432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7" name="Oval 46"/>
          <p:cNvSpPr/>
          <p:nvPr/>
        </p:nvSpPr>
        <p:spPr>
          <a:xfrm>
            <a:off x="10973057" y="511125"/>
            <a:ext cx="219220" cy="2192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Oval 47"/>
          <p:cNvSpPr/>
          <p:nvPr/>
        </p:nvSpPr>
        <p:spPr>
          <a:xfrm>
            <a:off x="10158254" y="407187"/>
            <a:ext cx="192246" cy="1922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9" name="Oval 48"/>
          <p:cNvSpPr/>
          <p:nvPr/>
        </p:nvSpPr>
        <p:spPr>
          <a:xfrm>
            <a:off x="10349522" y="2236371"/>
            <a:ext cx="267678" cy="2676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Oval 49"/>
          <p:cNvSpPr/>
          <p:nvPr/>
        </p:nvSpPr>
        <p:spPr>
          <a:xfrm>
            <a:off x="11281117" y="2434297"/>
            <a:ext cx="253218" cy="25321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1" name="Oval 50"/>
          <p:cNvSpPr/>
          <p:nvPr/>
        </p:nvSpPr>
        <p:spPr>
          <a:xfrm>
            <a:off x="10931239" y="1815465"/>
            <a:ext cx="141012" cy="1410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8" name="Freeform 23"/>
          <p:cNvSpPr>
            <a:spLocks/>
          </p:cNvSpPr>
          <p:nvPr/>
        </p:nvSpPr>
        <p:spPr bwMode="auto">
          <a:xfrm>
            <a:off x="6507275" y="1235356"/>
            <a:ext cx="761280" cy="509221"/>
          </a:xfrm>
          <a:custGeom>
            <a:avLst/>
            <a:gdLst>
              <a:gd name="T0" fmla="*/ 1852 w 2984"/>
              <a:gd name="T1" fmla="*/ 0 h 1995"/>
              <a:gd name="T2" fmla="*/ 1874 w 2984"/>
              <a:gd name="T3" fmla="*/ 2 h 1995"/>
              <a:gd name="T4" fmla="*/ 1897 w 2984"/>
              <a:gd name="T5" fmla="*/ 11 h 1995"/>
              <a:gd name="T6" fmla="*/ 1914 w 2984"/>
              <a:gd name="T7" fmla="*/ 26 h 1995"/>
              <a:gd name="T8" fmla="*/ 1927 w 2984"/>
              <a:gd name="T9" fmla="*/ 47 h 1995"/>
              <a:gd name="T10" fmla="*/ 2336 w 2984"/>
              <a:gd name="T11" fmla="*/ 923 h 1995"/>
              <a:gd name="T12" fmla="*/ 2902 w 2984"/>
              <a:gd name="T13" fmla="*/ 923 h 1995"/>
              <a:gd name="T14" fmla="*/ 2929 w 2984"/>
              <a:gd name="T15" fmla="*/ 926 h 1995"/>
              <a:gd name="T16" fmla="*/ 2950 w 2984"/>
              <a:gd name="T17" fmla="*/ 938 h 1995"/>
              <a:gd name="T18" fmla="*/ 2967 w 2984"/>
              <a:gd name="T19" fmla="*/ 957 h 1995"/>
              <a:gd name="T20" fmla="*/ 2978 w 2984"/>
              <a:gd name="T21" fmla="*/ 978 h 1995"/>
              <a:gd name="T22" fmla="*/ 2984 w 2984"/>
              <a:gd name="T23" fmla="*/ 1004 h 1995"/>
              <a:gd name="T24" fmla="*/ 2978 w 2984"/>
              <a:gd name="T25" fmla="*/ 1029 h 1995"/>
              <a:gd name="T26" fmla="*/ 2967 w 2984"/>
              <a:gd name="T27" fmla="*/ 1052 h 1995"/>
              <a:gd name="T28" fmla="*/ 2950 w 2984"/>
              <a:gd name="T29" fmla="*/ 1069 h 1995"/>
              <a:gd name="T30" fmla="*/ 2929 w 2984"/>
              <a:gd name="T31" fmla="*/ 1080 h 1995"/>
              <a:gd name="T32" fmla="*/ 2902 w 2984"/>
              <a:gd name="T33" fmla="*/ 1084 h 1995"/>
              <a:gd name="T34" fmla="*/ 2285 w 2984"/>
              <a:gd name="T35" fmla="*/ 1084 h 1995"/>
              <a:gd name="T36" fmla="*/ 2262 w 2984"/>
              <a:gd name="T37" fmla="*/ 1080 h 1995"/>
              <a:gd name="T38" fmla="*/ 2242 w 2984"/>
              <a:gd name="T39" fmla="*/ 1071 h 1995"/>
              <a:gd name="T40" fmla="*/ 2225 w 2984"/>
              <a:gd name="T41" fmla="*/ 1057 h 1995"/>
              <a:gd name="T42" fmla="*/ 2211 w 2984"/>
              <a:gd name="T43" fmla="*/ 1038 h 1995"/>
              <a:gd name="T44" fmla="*/ 1865 w 2984"/>
              <a:gd name="T45" fmla="*/ 294 h 1995"/>
              <a:gd name="T46" fmla="*/ 1286 w 2984"/>
              <a:gd name="T47" fmla="*/ 1940 h 1995"/>
              <a:gd name="T48" fmla="*/ 1274 w 2984"/>
              <a:gd name="T49" fmla="*/ 1961 h 1995"/>
              <a:gd name="T50" fmla="*/ 1257 w 2984"/>
              <a:gd name="T51" fmla="*/ 1978 h 1995"/>
              <a:gd name="T52" fmla="*/ 1236 w 2984"/>
              <a:gd name="T53" fmla="*/ 1990 h 1995"/>
              <a:gd name="T54" fmla="*/ 1214 w 2984"/>
              <a:gd name="T55" fmla="*/ 1995 h 1995"/>
              <a:gd name="T56" fmla="*/ 1210 w 2984"/>
              <a:gd name="T57" fmla="*/ 1995 h 1995"/>
              <a:gd name="T58" fmla="*/ 1187 w 2984"/>
              <a:gd name="T59" fmla="*/ 1992 h 1995"/>
              <a:gd name="T60" fmla="*/ 1166 w 2984"/>
              <a:gd name="T61" fmla="*/ 1982 h 1995"/>
              <a:gd name="T62" fmla="*/ 1149 w 2984"/>
              <a:gd name="T63" fmla="*/ 1967 h 1995"/>
              <a:gd name="T64" fmla="*/ 1136 w 2984"/>
              <a:gd name="T65" fmla="*/ 1946 h 1995"/>
              <a:gd name="T66" fmla="*/ 754 w 2984"/>
              <a:gd name="T67" fmla="*/ 1084 h 1995"/>
              <a:gd name="T68" fmla="*/ 81 w 2984"/>
              <a:gd name="T69" fmla="*/ 1084 h 1995"/>
              <a:gd name="T70" fmla="*/ 55 w 2984"/>
              <a:gd name="T71" fmla="*/ 1080 h 1995"/>
              <a:gd name="T72" fmla="*/ 32 w 2984"/>
              <a:gd name="T73" fmla="*/ 1069 h 1995"/>
              <a:gd name="T74" fmla="*/ 15 w 2984"/>
              <a:gd name="T75" fmla="*/ 1052 h 1995"/>
              <a:gd name="T76" fmla="*/ 4 w 2984"/>
              <a:gd name="T77" fmla="*/ 1029 h 1995"/>
              <a:gd name="T78" fmla="*/ 0 w 2984"/>
              <a:gd name="T79" fmla="*/ 1004 h 1995"/>
              <a:gd name="T80" fmla="*/ 4 w 2984"/>
              <a:gd name="T81" fmla="*/ 978 h 1995"/>
              <a:gd name="T82" fmla="*/ 15 w 2984"/>
              <a:gd name="T83" fmla="*/ 955 h 1995"/>
              <a:gd name="T84" fmla="*/ 32 w 2984"/>
              <a:gd name="T85" fmla="*/ 938 h 1995"/>
              <a:gd name="T86" fmla="*/ 55 w 2984"/>
              <a:gd name="T87" fmla="*/ 926 h 1995"/>
              <a:gd name="T88" fmla="*/ 81 w 2984"/>
              <a:gd name="T89" fmla="*/ 923 h 1995"/>
              <a:gd name="T90" fmla="*/ 807 w 2984"/>
              <a:gd name="T91" fmla="*/ 923 h 1995"/>
              <a:gd name="T92" fmla="*/ 829 w 2984"/>
              <a:gd name="T93" fmla="*/ 926 h 1995"/>
              <a:gd name="T94" fmla="*/ 850 w 2984"/>
              <a:gd name="T95" fmla="*/ 936 h 1995"/>
              <a:gd name="T96" fmla="*/ 867 w 2984"/>
              <a:gd name="T97" fmla="*/ 951 h 1995"/>
              <a:gd name="T98" fmla="*/ 880 w 2984"/>
              <a:gd name="T99" fmla="*/ 970 h 1995"/>
              <a:gd name="T100" fmla="*/ 1202 w 2984"/>
              <a:gd name="T101" fmla="*/ 1695 h 1995"/>
              <a:gd name="T102" fmla="*/ 1778 w 2984"/>
              <a:gd name="T103" fmla="*/ 55 h 1995"/>
              <a:gd name="T104" fmla="*/ 1789 w 2984"/>
              <a:gd name="T105" fmla="*/ 32 h 1995"/>
              <a:gd name="T106" fmla="*/ 1806 w 2984"/>
              <a:gd name="T107" fmla="*/ 17 h 1995"/>
              <a:gd name="T108" fmla="*/ 1827 w 2984"/>
              <a:gd name="T109" fmla="*/ 5 h 1995"/>
              <a:gd name="T110" fmla="*/ 1852 w 2984"/>
              <a:gd name="T111" fmla="*/ 0 h 1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984" h="1995">
                <a:moveTo>
                  <a:pt x="1852" y="0"/>
                </a:moveTo>
                <a:lnTo>
                  <a:pt x="1874" y="2"/>
                </a:lnTo>
                <a:lnTo>
                  <a:pt x="1897" y="11"/>
                </a:lnTo>
                <a:lnTo>
                  <a:pt x="1914" y="26"/>
                </a:lnTo>
                <a:lnTo>
                  <a:pt x="1927" y="47"/>
                </a:lnTo>
                <a:lnTo>
                  <a:pt x="2336" y="923"/>
                </a:lnTo>
                <a:lnTo>
                  <a:pt x="2902" y="923"/>
                </a:lnTo>
                <a:lnTo>
                  <a:pt x="2929" y="926"/>
                </a:lnTo>
                <a:lnTo>
                  <a:pt x="2950" y="938"/>
                </a:lnTo>
                <a:lnTo>
                  <a:pt x="2967" y="957"/>
                </a:lnTo>
                <a:lnTo>
                  <a:pt x="2978" y="978"/>
                </a:lnTo>
                <a:lnTo>
                  <a:pt x="2984" y="1004"/>
                </a:lnTo>
                <a:lnTo>
                  <a:pt x="2978" y="1029"/>
                </a:lnTo>
                <a:lnTo>
                  <a:pt x="2967" y="1052"/>
                </a:lnTo>
                <a:lnTo>
                  <a:pt x="2950" y="1069"/>
                </a:lnTo>
                <a:lnTo>
                  <a:pt x="2929" y="1080"/>
                </a:lnTo>
                <a:lnTo>
                  <a:pt x="2902" y="1084"/>
                </a:lnTo>
                <a:lnTo>
                  <a:pt x="2285" y="1084"/>
                </a:lnTo>
                <a:lnTo>
                  <a:pt x="2262" y="1080"/>
                </a:lnTo>
                <a:lnTo>
                  <a:pt x="2242" y="1071"/>
                </a:lnTo>
                <a:lnTo>
                  <a:pt x="2225" y="1057"/>
                </a:lnTo>
                <a:lnTo>
                  <a:pt x="2211" y="1038"/>
                </a:lnTo>
                <a:lnTo>
                  <a:pt x="1865" y="294"/>
                </a:lnTo>
                <a:lnTo>
                  <a:pt x="1286" y="1940"/>
                </a:lnTo>
                <a:lnTo>
                  <a:pt x="1274" y="1961"/>
                </a:lnTo>
                <a:lnTo>
                  <a:pt x="1257" y="1978"/>
                </a:lnTo>
                <a:lnTo>
                  <a:pt x="1236" y="1990"/>
                </a:lnTo>
                <a:lnTo>
                  <a:pt x="1214" y="1995"/>
                </a:lnTo>
                <a:lnTo>
                  <a:pt x="1210" y="1995"/>
                </a:lnTo>
                <a:lnTo>
                  <a:pt x="1187" y="1992"/>
                </a:lnTo>
                <a:lnTo>
                  <a:pt x="1166" y="1982"/>
                </a:lnTo>
                <a:lnTo>
                  <a:pt x="1149" y="1967"/>
                </a:lnTo>
                <a:lnTo>
                  <a:pt x="1136" y="1946"/>
                </a:lnTo>
                <a:lnTo>
                  <a:pt x="754" y="1084"/>
                </a:lnTo>
                <a:lnTo>
                  <a:pt x="81" y="1084"/>
                </a:lnTo>
                <a:lnTo>
                  <a:pt x="55" y="1080"/>
                </a:lnTo>
                <a:lnTo>
                  <a:pt x="32" y="1069"/>
                </a:lnTo>
                <a:lnTo>
                  <a:pt x="15" y="1052"/>
                </a:lnTo>
                <a:lnTo>
                  <a:pt x="4" y="1029"/>
                </a:lnTo>
                <a:lnTo>
                  <a:pt x="0" y="1004"/>
                </a:lnTo>
                <a:lnTo>
                  <a:pt x="4" y="978"/>
                </a:lnTo>
                <a:lnTo>
                  <a:pt x="15" y="955"/>
                </a:lnTo>
                <a:lnTo>
                  <a:pt x="32" y="938"/>
                </a:lnTo>
                <a:lnTo>
                  <a:pt x="55" y="926"/>
                </a:lnTo>
                <a:lnTo>
                  <a:pt x="81" y="923"/>
                </a:lnTo>
                <a:lnTo>
                  <a:pt x="807" y="923"/>
                </a:lnTo>
                <a:lnTo>
                  <a:pt x="829" y="926"/>
                </a:lnTo>
                <a:lnTo>
                  <a:pt x="850" y="936"/>
                </a:lnTo>
                <a:lnTo>
                  <a:pt x="867" y="951"/>
                </a:lnTo>
                <a:lnTo>
                  <a:pt x="880" y="970"/>
                </a:lnTo>
                <a:lnTo>
                  <a:pt x="1202" y="1695"/>
                </a:lnTo>
                <a:lnTo>
                  <a:pt x="1778" y="55"/>
                </a:lnTo>
                <a:lnTo>
                  <a:pt x="1789" y="32"/>
                </a:lnTo>
                <a:lnTo>
                  <a:pt x="1806" y="17"/>
                </a:lnTo>
                <a:lnTo>
                  <a:pt x="1827" y="5"/>
                </a:lnTo>
                <a:lnTo>
                  <a:pt x="185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59" name="Freeform 23"/>
          <p:cNvSpPr>
            <a:spLocks/>
          </p:cNvSpPr>
          <p:nvPr/>
        </p:nvSpPr>
        <p:spPr bwMode="auto">
          <a:xfrm>
            <a:off x="10947065" y="1038241"/>
            <a:ext cx="490425" cy="328046"/>
          </a:xfrm>
          <a:custGeom>
            <a:avLst/>
            <a:gdLst>
              <a:gd name="T0" fmla="*/ 1852 w 2984"/>
              <a:gd name="T1" fmla="*/ 0 h 1995"/>
              <a:gd name="T2" fmla="*/ 1874 w 2984"/>
              <a:gd name="T3" fmla="*/ 2 h 1995"/>
              <a:gd name="T4" fmla="*/ 1897 w 2984"/>
              <a:gd name="T5" fmla="*/ 11 h 1995"/>
              <a:gd name="T6" fmla="*/ 1914 w 2984"/>
              <a:gd name="T7" fmla="*/ 26 h 1995"/>
              <a:gd name="T8" fmla="*/ 1927 w 2984"/>
              <a:gd name="T9" fmla="*/ 47 h 1995"/>
              <a:gd name="T10" fmla="*/ 2336 w 2984"/>
              <a:gd name="T11" fmla="*/ 923 h 1995"/>
              <a:gd name="T12" fmla="*/ 2902 w 2984"/>
              <a:gd name="T13" fmla="*/ 923 h 1995"/>
              <a:gd name="T14" fmla="*/ 2929 w 2984"/>
              <a:gd name="T15" fmla="*/ 926 h 1995"/>
              <a:gd name="T16" fmla="*/ 2950 w 2984"/>
              <a:gd name="T17" fmla="*/ 938 h 1995"/>
              <a:gd name="T18" fmla="*/ 2967 w 2984"/>
              <a:gd name="T19" fmla="*/ 957 h 1995"/>
              <a:gd name="T20" fmla="*/ 2978 w 2984"/>
              <a:gd name="T21" fmla="*/ 978 h 1995"/>
              <a:gd name="T22" fmla="*/ 2984 w 2984"/>
              <a:gd name="T23" fmla="*/ 1004 h 1995"/>
              <a:gd name="T24" fmla="*/ 2978 w 2984"/>
              <a:gd name="T25" fmla="*/ 1029 h 1995"/>
              <a:gd name="T26" fmla="*/ 2967 w 2984"/>
              <a:gd name="T27" fmla="*/ 1052 h 1995"/>
              <a:gd name="T28" fmla="*/ 2950 w 2984"/>
              <a:gd name="T29" fmla="*/ 1069 h 1995"/>
              <a:gd name="T30" fmla="*/ 2929 w 2984"/>
              <a:gd name="T31" fmla="*/ 1080 h 1995"/>
              <a:gd name="T32" fmla="*/ 2902 w 2984"/>
              <a:gd name="T33" fmla="*/ 1084 h 1995"/>
              <a:gd name="T34" fmla="*/ 2285 w 2984"/>
              <a:gd name="T35" fmla="*/ 1084 h 1995"/>
              <a:gd name="T36" fmla="*/ 2262 w 2984"/>
              <a:gd name="T37" fmla="*/ 1080 h 1995"/>
              <a:gd name="T38" fmla="*/ 2242 w 2984"/>
              <a:gd name="T39" fmla="*/ 1071 h 1995"/>
              <a:gd name="T40" fmla="*/ 2225 w 2984"/>
              <a:gd name="T41" fmla="*/ 1057 h 1995"/>
              <a:gd name="T42" fmla="*/ 2211 w 2984"/>
              <a:gd name="T43" fmla="*/ 1038 h 1995"/>
              <a:gd name="T44" fmla="*/ 1865 w 2984"/>
              <a:gd name="T45" fmla="*/ 294 h 1995"/>
              <a:gd name="T46" fmla="*/ 1286 w 2984"/>
              <a:gd name="T47" fmla="*/ 1940 h 1995"/>
              <a:gd name="T48" fmla="*/ 1274 w 2984"/>
              <a:gd name="T49" fmla="*/ 1961 h 1995"/>
              <a:gd name="T50" fmla="*/ 1257 w 2984"/>
              <a:gd name="T51" fmla="*/ 1978 h 1995"/>
              <a:gd name="T52" fmla="*/ 1236 w 2984"/>
              <a:gd name="T53" fmla="*/ 1990 h 1995"/>
              <a:gd name="T54" fmla="*/ 1214 w 2984"/>
              <a:gd name="T55" fmla="*/ 1995 h 1995"/>
              <a:gd name="T56" fmla="*/ 1210 w 2984"/>
              <a:gd name="T57" fmla="*/ 1995 h 1995"/>
              <a:gd name="T58" fmla="*/ 1187 w 2984"/>
              <a:gd name="T59" fmla="*/ 1992 h 1995"/>
              <a:gd name="T60" fmla="*/ 1166 w 2984"/>
              <a:gd name="T61" fmla="*/ 1982 h 1995"/>
              <a:gd name="T62" fmla="*/ 1149 w 2984"/>
              <a:gd name="T63" fmla="*/ 1967 h 1995"/>
              <a:gd name="T64" fmla="*/ 1136 w 2984"/>
              <a:gd name="T65" fmla="*/ 1946 h 1995"/>
              <a:gd name="T66" fmla="*/ 754 w 2984"/>
              <a:gd name="T67" fmla="*/ 1084 h 1995"/>
              <a:gd name="T68" fmla="*/ 81 w 2984"/>
              <a:gd name="T69" fmla="*/ 1084 h 1995"/>
              <a:gd name="T70" fmla="*/ 55 w 2984"/>
              <a:gd name="T71" fmla="*/ 1080 h 1995"/>
              <a:gd name="T72" fmla="*/ 32 w 2984"/>
              <a:gd name="T73" fmla="*/ 1069 h 1995"/>
              <a:gd name="T74" fmla="*/ 15 w 2984"/>
              <a:gd name="T75" fmla="*/ 1052 h 1995"/>
              <a:gd name="T76" fmla="*/ 4 w 2984"/>
              <a:gd name="T77" fmla="*/ 1029 h 1995"/>
              <a:gd name="T78" fmla="*/ 0 w 2984"/>
              <a:gd name="T79" fmla="*/ 1004 h 1995"/>
              <a:gd name="T80" fmla="*/ 4 w 2984"/>
              <a:gd name="T81" fmla="*/ 978 h 1995"/>
              <a:gd name="T82" fmla="*/ 15 w 2984"/>
              <a:gd name="T83" fmla="*/ 955 h 1995"/>
              <a:gd name="T84" fmla="*/ 32 w 2984"/>
              <a:gd name="T85" fmla="*/ 938 h 1995"/>
              <a:gd name="T86" fmla="*/ 55 w 2984"/>
              <a:gd name="T87" fmla="*/ 926 h 1995"/>
              <a:gd name="T88" fmla="*/ 81 w 2984"/>
              <a:gd name="T89" fmla="*/ 923 h 1995"/>
              <a:gd name="T90" fmla="*/ 807 w 2984"/>
              <a:gd name="T91" fmla="*/ 923 h 1995"/>
              <a:gd name="T92" fmla="*/ 829 w 2984"/>
              <a:gd name="T93" fmla="*/ 926 h 1995"/>
              <a:gd name="T94" fmla="*/ 850 w 2984"/>
              <a:gd name="T95" fmla="*/ 936 h 1995"/>
              <a:gd name="T96" fmla="*/ 867 w 2984"/>
              <a:gd name="T97" fmla="*/ 951 h 1995"/>
              <a:gd name="T98" fmla="*/ 880 w 2984"/>
              <a:gd name="T99" fmla="*/ 970 h 1995"/>
              <a:gd name="T100" fmla="*/ 1202 w 2984"/>
              <a:gd name="T101" fmla="*/ 1695 h 1995"/>
              <a:gd name="T102" fmla="*/ 1778 w 2984"/>
              <a:gd name="T103" fmla="*/ 55 h 1995"/>
              <a:gd name="T104" fmla="*/ 1789 w 2984"/>
              <a:gd name="T105" fmla="*/ 32 h 1995"/>
              <a:gd name="T106" fmla="*/ 1806 w 2984"/>
              <a:gd name="T107" fmla="*/ 17 h 1995"/>
              <a:gd name="T108" fmla="*/ 1827 w 2984"/>
              <a:gd name="T109" fmla="*/ 5 h 1995"/>
              <a:gd name="T110" fmla="*/ 1852 w 2984"/>
              <a:gd name="T111" fmla="*/ 0 h 1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984" h="1995">
                <a:moveTo>
                  <a:pt x="1852" y="0"/>
                </a:moveTo>
                <a:lnTo>
                  <a:pt x="1874" y="2"/>
                </a:lnTo>
                <a:lnTo>
                  <a:pt x="1897" y="11"/>
                </a:lnTo>
                <a:lnTo>
                  <a:pt x="1914" y="26"/>
                </a:lnTo>
                <a:lnTo>
                  <a:pt x="1927" y="47"/>
                </a:lnTo>
                <a:lnTo>
                  <a:pt x="2336" y="923"/>
                </a:lnTo>
                <a:lnTo>
                  <a:pt x="2902" y="923"/>
                </a:lnTo>
                <a:lnTo>
                  <a:pt x="2929" y="926"/>
                </a:lnTo>
                <a:lnTo>
                  <a:pt x="2950" y="938"/>
                </a:lnTo>
                <a:lnTo>
                  <a:pt x="2967" y="957"/>
                </a:lnTo>
                <a:lnTo>
                  <a:pt x="2978" y="978"/>
                </a:lnTo>
                <a:lnTo>
                  <a:pt x="2984" y="1004"/>
                </a:lnTo>
                <a:lnTo>
                  <a:pt x="2978" y="1029"/>
                </a:lnTo>
                <a:lnTo>
                  <a:pt x="2967" y="1052"/>
                </a:lnTo>
                <a:lnTo>
                  <a:pt x="2950" y="1069"/>
                </a:lnTo>
                <a:lnTo>
                  <a:pt x="2929" y="1080"/>
                </a:lnTo>
                <a:lnTo>
                  <a:pt x="2902" y="1084"/>
                </a:lnTo>
                <a:lnTo>
                  <a:pt x="2285" y="1084"/>
                </a:lnTo>
                <a:lnTo>
                  <a:pt x="2262" y="1080"/>
                </a:lnTo>
                <a:lnTo>
                  <a:pt x="2242" y="1071"/>
                </a:lnTo>
                <a:lnTo>
                  <a:pt x="2225" y="1057"/>
                </a:lnTo>
                <a:lnTo>
                  <a:pt x="2211" y="1038"/>
                </a:lnTo>
                <a:lnTo>
                  <a:pt x="1865" y="294"/>
                </a:lnTo>
                <a:lnTo>
                  <a:pt x="1286" y="1940"/>
                </a:lnTo>
                <a:lnTo>
                  <a:pt x="1274" y="1961"/>
                </a:lnTo>
                <a:lnTo>
                  <a:pt x="1257" y="1978"/>
                </a:lnTo>
                <a:lnTo>
                  <a:pt x="1236" y="1990"/>
                </a:lnTo>
                <a:lnTo>
                  <a:pt x="1214" y="1995"/>
                </a:lnTo>
                <a:lnTo>
                  <a:pt x="1210" y="1995"/>
                </a:lnTo>
                <a:lnTo>
                  <a:pt x="1187" y="1992"/>
                </a:lnTo>
                <a:lnTo>
                  <a:pt x="1166" y="1982"/>
                </a:lnTo>
                <a:lnTo>
                  <a:pt x="1149" y="1967"/>
                </a:lnTo>
                <a:lnTo>
                  <a:pt x="1136" y="1946"/>
                </a:lnTo>
                <a:lnTo>
                  <a:pt x="754" y="1084"/>
                </a:lnTo>
                <a:lnTo>
                  <a:pt x="81" y="1084"/>
                </a:lnTo>
                <a:lnTo>
                  <a:pt x="55" y="1080"/>
                </a:lnTo>
                <a:lnTo>
                  <a:pt x="32" y="1069"/>
                </a:lnTo>
                <a:lnTo>
                  <a:pt x="15" y="1052"/>
                </a:lnTo>
                <a:lnTo>
                  <a:pt x="4" y="1029"/>
                </a:lnTo>
                <a:lnTo>
                  <a:pt x="0" y="1004"/>
                </a:lnTo>
                <a:lnTo>
                  <a:pt x="4" y="978"/>
                </a:lnTo>
                <a:lnTo>
                  <a:pt x="15" y="955"/>
                </a:lnTo>
                <a:lnTo>
                  <a:pt x="32" y="938"/>
                </a:lnTo>
                <a:lnTo>
                  <a:pt x="55" y="926"/>
                </a:lnTo>
                <a:lnTo>
                  <a:pt x="81" y="923"/>
                </a:lnTo>
                <a:lnTo>
                  <a:pt x="807" y="923"/>
                </a:lnTo>
                <a:lnTo>
                  <a:pt x="829" y="926"/>
                </a:lnTo>
                <a:lnTo>
                  <a:pt x="850" y="936"/>
                </a:lnTo>
                <a:lnTo>
                  <a:pt x="867" y="951"/>
                </a:lnTo>
                <a:lnTo>
                  <a:pt x="880" y="970"/>
                </a:lnTo>
                <a:lnTo>
                  <a:pt x="1202" y="1695"/>
                </a:lnTo>
                <a:lnTo>
                  <a:pt x="1778" y="55"/>
                </a:lnTo>
                <a:lnTo>
                  <a:pt x="1789" y="32"/>
                </a:lnTo>
                <a:lnTo>
                  <a:pt x="1806" y="17"/>
                </a:lnTo>
                <a:lnTo>
                  <a:pt x="1827" y="5"/>
                </a:lnTo>
                <a:lnTo>
                  <a:pt x="185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75" name="Group 74"/>
          <p:cNvGrpSpPr/>
          <p:nvPr/>
        </p:nvGrpSpPr>
        <p:grpSpPr>
          <a:xfrm>
            <a:off x="7959357" y="825963"/>
            <a:ext cx="2746710" cy="2046852"/>
            <a:chOff x="2951163" y="1087438"/>
            <a:chExt cx="6286501" cy="4684713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5502276" y="1160463"/>
              <a:ext cx="1201738" cy="4611688"/>
            </a:xfrm>
            <a:custGeom>
              <a:avLst/>
              <a:gdLst>
                <a:gd name="T0" fmla="*/ 502 w 757"/>
                <a:gd name="T1" fmla="*/ 2366 h 2905"/>
                <a:gd name="T2" fmla="*/ 249 w 757"/>
                <a:gd name="T3" fmla="*/ 2366 h 2905"/>
                <a:gd name="T4" fmla="*/ 419 w 757"/>
                <a:gd name="T5" fmla="*/ 2073 h 2905"/>
                <a:gd name="T6" fmla="*/ 536 w 757"/>
                <a:gd name="T7" fmla="*/ 2135 h 2905"/>
                <a:gd name="T8" fmla="*/ 275 w 757"/>
                <a:gd name="T9" fmla="*/ 2103 h 2905"/>
                <a:gd name="T10" fmla="*/ 304 w 757"/>
                <a:gd name="T11" fmla="*/ 2221 h 2905"/>
                <a:gd name="T12" fmla="*/ 179 w 757"/>
                <a:gd name="T13" fmla="*/ 1838 h 2905"/>
                <a:gd name="T14" fmla="*/ 231 w 757"/>
                <a:gd name="T15" fmla="*/ 1933 h 2905"/>
                <a:gd name="T16" fmla="*/ 468 w 757"/>
                <a:gd name="T17" fmla="*/ 1959 h 2905"/>
                <a:gd name="T18" fmla="*/ 419 w 757"/>
                <a:gd name="T19" fmla="*/ 1755 h 2905"/>
                <a:gd name="T20" fmla="*/ 645 w 757"/>
                <a:gd name="T21" fmla="*/ 1544 h 2905"/>
                <a:gd name="T22" fmla="*/ 620 w 757"/>
                <a:gd name="T23" fmla="*/ 1392 h 2905"/>
                <a:gd name="T24" fmla="*/ 240 w 757"/>
                <a:gd name="T25" fmla="*/ 1307 h 2905"/>
                <a:gd name="T26" fmla="*/ 80 w 757"/>
                <a:gd name="T27" fmla="*/ 1509 h 2905"/>
                <a:gd name="T28" fmla="*/ 339 w 757"/>
                <a:gd name="T29" fmla="*/ 1653 h 2905"/>
                <a:gd name="T30" fmla="*/ 453 w 757"/>
                <a:gd name="T31" fmla="*/ 963 h 2905"/>
                <a:gd name="T32" fmla="*/ 510 w 757"/>
                <a:gd name="T33" fmla="*/ 47 h 2905"/>
                <a:gd name="T34" fmla="*/ 591 w 757"/>
                <a:gd name="T35" fmla="*/ 262 h 2905"/>
                <a:gd name="T36" fmla="*/ 442 w 757"/>
                <a:gd name="T37" fmla="*/ 428 h 2905"/>
                <a:gd name="T38" fmla="*/ 412 w 757"/>
                <a:gd name="T39" fmla="*/ 919 h 2905"/>
                <a:gd name="T40" fmla="*/ 450 w 757"/>
                <a:gd name="T41" fmla="*/ 964 h 2905"/>
                <a:gd name="T42" fmla="*/ 531 w 757"/>
                <a:gd name="T43" fmla="*/ 1001 h 2905"/>
                <a:gd name="T44" fmla="*/ 640 w 757"/>
                <a:gd name="T45" fmla="*/ 1113 h 2905"/>
                <a:gd name="T46" fmla="*/ 494 w 757"/>
                <a:gd name="T47" fmla="*/ 1141 h 2905"/>
                <a:gd name="T48" fmla="*/ 426 w 757"/>
                <a:gd name="T49" fmla="*/ 1152 h 2905"/>
                <a:gd name="T50" fmla="*/ 686 w 757"/>
                <a:gd name="T51" fmla="*/ 1373 h 2905"/>
                <a:gd name="T52" fmla="*/ 735 w 757"/>
                <a:gd name="T53" fmla="*/ 1551 h 2905"/>
                <a:gd name="T54" fmla="*/ 492 w 757"/>
                <a:gd name="T55" fmla="*/ 1702 h 2905"/>
                <a:gd name="T56" fmla="*/ 671 w 757"/>
                <a:gd name="T57" fmla="*/ 1876 h 2905"/>
                <a:gd name="T58" fmla="*/ 524 w 757"/>
                <a:gd name="T59" fmla="*/ 2017 h 2905"/>
                <a:gd name="T60" fmla="*/ 616 w 757"/>
                <a:gd name="T61" fmla="*/ 2149 h 2905"/>
                <a:gd name="T62" fmla="*/ 532 w 757"/>
                <a:gd name="T63" fmla="*/ 2286 h 2905"/>
                <a:gd name="T64" fmla="*/ 593 w 757"/>
                <a:gd name="T65" fmla="*/ 2408 h 2905"/>
                <a:gd name="T66" fmla="*/ 552 w 757"/>
                <a:gd name="T67" fmla="*/ 2544 h 2905"/>
                <a:gd name="T68" fmla="*/ 490 w 757"/>
                <a:gd name="T69" fmla="*/ 2677 h 2905"/>
                <a:gd name="T70" fmla="*/ 500 w 757"/>
                <a:gd name="T71" fmla="*/ 2807 h 2905"/>
                <a:gd name="T72" fmla="*/ 420 w 757"/>
                <a:gd name="T73" fmla="*/ 2886 h 2905"/>
                <a:gd name="T74" fmla="*/ 311 w 757"/>
                <a:gd name="T75" fmla="*/ 2859 h 2905"/>
                <a:gd name="T76" fmla="*/ 224 w 757"/>
                <a:gd name="T77" fmla="*/ 2748 h 2905"/>
                <a:gd name="T78" fmla="*/ 215 w 757"/>
                <a:gd name="T79" fmla="*/ 2626 h 2905"/>
                <a:gd name="T80" fmla="*/ 216 w 757"/>
                <a:gd name="T81" fmla="*/ 2512 h 2905"/>
                <a:gd name="T82" fmla="*/ 153 w 757"/>
                <a:gd name="T83" fmla="*/ 2378 h 2905"/>
                <a:gd name="T84" fmla="*/ 197 w 757"/>
                <a:gd name="T85" fmla="*/ 2250 h 2905"/>
                <a:gd name="T86" fmla="*/ 138 w 757"/>
                <a:gd name="T87" fmla="*/ 2114 h 2905"/>
                <a:gd name="T88" fmla="*/ 186 w 757"/>
                <a:gd name="T89" fmla="*/ 1994 h 2905"/>
                <a:gd name="T90" fmla="*/ 86 w 757"/>
                <a:gd name="T91" fmla="*/ 1901 h 2905"/>
                <a:gd name="T92" fmla="*/ 172 w 757"/>
                <a:gd name="T93" fmla="*/ 1753 h 2905"/>
                <a:gd name="T94" fmla="*/ 124 w 757"/>
                <a:gd name="T95" fmla="*/ 1643 h 2905"/>
                <a:gd name="T96" fmla="*/ 3 w 757"/>
                <a:gd name="T97" fmla="*/ 1456 h 2905"/>
                <a:gd name="T98" fmla="*/ 154 w 757"/>
                <a:gd name="T99" fmla="*/ 1270 h 2905"/>
                <a:gd name="T100" fmla="*/ 328 w 757"/>
                <a:gd name="T101" fmla="*/ 1158 h 2905"/>
                <a:gd name="T102" fmla="*/ 251 w 757"/>
                <a:gd name="T103" fmla="*/ 1144 h 2905"/>
                <a:gd name="T104" fmla="*/ 130 w 757"/>
                <a:gd name="T105" fmla="*/ 1085 h 2905"/>
                <a:gd name="T106" fmla="*/ 266 w 757"/>
                <a:gd name="T107" fmla="*/ 985 h 2905"/>
                <a:gd name="T108" fmla="*/ 310 w 757"/>
                <a:gd name="T109" fmla="*/ 952 h 2905"/>
                <a:gd name="T110" fmla="*/ 332 w 757"/>
                <a:gd name="T111" fmla="*/ 468 h 2905"/>
                <a:gd name="T112" fmla="*/ 196 w 757"/>
                <a:gd name="T113" fmla="*/ 341 h 2905"/>
                <a:gd name="T114" fmla="*/ 185 w 757"/>
                <a:gd name="T115" fmla="*/ 113 h 2905"/>
                <a:gd name="T116" fmla="*/ 381 w 757"/>
                <a:gd name="T117" fmla="*/ 0 h 2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7" h="2905">
                  <a:moveTo>
                    <a:pt x="419" y="2319"/>
                  </a:moveTo>
                  <a:lnTo>
                    <a:pt x="419" y="2446"/>
                  </a:lnTo>
                  <a:lnTo>
                    <a:pt x="448" y="2430"/>
                  </a:lnTo>
                  <a:lnTo>
                    <a:pt x="474" y="2415"/>
                  </a:lnTo>
                  <a:lnTo>
                    <a:pt x="502" y="2400"/>
                  </a:lnTo>
                  <a:lnTo>
                    <a:pt x="532" y="2383"/>
                  </a:lnTo>
                  <a:lnTo>
                    <a:pt x="502" y="2366"/>
                  </a:lnTo>
                  <a:lnTo>
                    <a:pt x="474" y="2350"/>
                  </a:lnTo>
                  <a:lnTo>
                    <a:pt x="448" y="2335"/>
                  </a:lnTo>
                  <a:lnTo>
                    <a:pt x="419" y="2319"/>
                  </a:lnTo>
                  <a:close/>
                  <a:moveTo>
                    <a:pt x="333" y="2319"/>
                  </a:moveTo>
                  <a:lnTo>
                    <a:pt x="304" y="2335"/>
                  </a:lnTo>
                  <a:lnTo>
                    <a:pt x="276" y="2350"/>
                  </a:lnTo>
                  <a:lnTo>
                    <a:pt x="249" y="2366"/>
                  </a:lnTo>
                  <a:lnTo>
                    <a:pt x="219" y="2383"/>
                  </a:lnTo>
                  <a:lnTo>
                    <a:pt x="250" y="2400"/>
                  </a:lnTo>
                  <a:lnTo>
                    <a:pt x="279" y="2414"/>
                  </a:lnTo>
                  <a:lnTo>
                    <a:pt x="305" y="2428"/>
                  </a:lnTo>
                  <a:lnTo>
                    <a:pt x="333" y="2443"/>
                  </a:lnTo>
                  <a:lnTo>
                    <a:pt x="333" y="2319"/>
                  </a:lnTo>
                  <a:close/>
                  <a:moveTo>
                    <a:pt x="419" y="2073"/>
                  </a:moveTo>
                  <a:lnTo>
                    <a:pt x="419" y="2236"/>
                  </a:lnTo>
                  <a:lnTo>
                    <a:pt x="447" y="2221"/>
                  </a:lnTo>
                  <a:lnTo>
                    <a:pt x="474" y="2206"/>
                  </a:lnTo>
                  <a:lnTo>
                    <a:pt x="503" y="2191"/>
                  </a:lnTo>
                  <a:lnTo>
                    <a:pt x="534" y="2173"/>
                  </a:lnTo>
                  <a:lnTo>
                    <a:pt x="570" y="2153"/>
                  </a:lnTo>
                  <a:lnTo>
                    <a:pt x="536" y="2135"/>
                  </a:lnTo>
                  <a:lnTo>
                    <a:pt x="504" y="2119"/>
                  </a:lnTo>
                  <a:lnTo>
                    <a:pt x="476" y="2103"/>
                  </a:lnTo>
                  <a:lnTo>
                    <a:pt x="447" y="2089"/>
                  </a:lnTo>
                  <a:lnTo>
                    <a:pt x="419" y="2073"/>
                  </a:lnTo>
                  <a:close/>
                  <a:moveTo>
                    <a:pt x="333" y="2072"/>
                  </a:moveTo>
                  <a:lnTo>
                    <a:pt x="303" y="2087"/>
                  </a:lnTo>
                  <a:lnTo>
                    <a:pt x="275" y="2103"/>
                  </a:lnTo>
                  <a:lnTo>
                    <a:pt x="248" y="2119"/>
                  </a:lnTo>
                  <a:lnTo>
                    <a:pt x="218" y="2135"/>
                  </a:lnTo>
                  <a:lnTo>
                    <a:pt x="184" y="2155"/>
                  </a:lnTo>
                  <a:lnTo>
                    <a:pt x="218" y="2173"/>
                  </a:lnTo>
                  <a:lnTo>
                    <a:pt x="248" y="2190"/>
                  </a:lnTo>
                  <a:lnTo>
                    <a:pt x="275" y="2205"/>
                  </a:lnTo>
                  <a:lnTo>
                    <a:pt x="304" y="2221"/>
                  </a:lnTo>
                  <a:lnTo>
                    <a:pt x="333" y="2236"/>
                  </a:lnTo>
                  <a:lnTo>
                    <a:pt x="333" y="2072"/>
                  </a:lnTo>
                  <a:close/>
                  <a:moveTo>
                    <a:pt x="333" y="1756"/>
                  </a:moveTo>
                  <a:lnTo>
                    <a:pt x="285" y="1780"/>
                  </a:lnTo>
                  <a:lnTo>
                    <a:pt x="242" y="1802"/>
                  </a:lnTo>
                  <a:lnTo>
                    <a:pt x="201" y="1825"/>
                  </a:lnTo>
                  <a:lnTo>
                    <a:pt x="179" y="1838"/>
                  </a:lnTo>
                  <a:lnTo>
                    <a:pt x="166" y="1851"/>
                  </a:lnTo>
                  <a:lnTo>
                    <a:pt x="159" y="1863"/>
                  </a:lnTo>
                  <a:lnTo>
                    <a:pt x="159" y="1875"/>
                  </a:lnTo>
                  <a:lnTo>
                    <a:pt x="166" y="1887"/>
                  </a:lnTo>
                  <a:lnTo>
                    <a:pt x="180" y="1900"/>
                  </a:lnTo>
                  <a:lnTo>
                    <a:pt x="202" y="1916"/>
                  </a:lnTo>
                  <a:lnTo>
                    <a:pt x="231" y="1933"/>
                  </a:lnTo>
                  <a:lnTo>
                    <a:pt x="262" y="1949"/>
                  </a:lnTo>
                  <a:lnTo>
                    <a:pt x="296" y="1966"/>
                  </a:lnTo>
                  <a:lnTo>
                    <a:pt x="333" y="1985"/>
                  </a:lnTo>
                  <a:lnTo>
                    <a:pt x="333" y="1756"/>
                  </a:lnTo>
                  <a:close/>
                  <a:moveTo>
                    <a:pt x="419" y="1755"/>
                  </a:moveTo>
                  <a:lnTo>
                    <a:pt x="419" y="1989"/>
                  </a:lnTo>
                  <a:lnTo>
                    <a:pt x="468" y="1959"/>
                  </a:lnTo>
                  <a:lnTo>
                    <a:pt x="514" y="1931"/>
                  </a:lnTo>
                  <a:lnTo>
                    <a:pt x="558" y="1905"/>
                  </a:lnTo>
                  <a:lnTo>
                    <a:pt x="600" y="1880"/>
                  </a:lnTo>
                  <a:lnTo>
                    <a:pt x="599" y="1853"/>
                  </a:lnTo>
                  <a:lnTo>
                    <a:pt x="542" y="1822"/>
                  </a:lnTo>
                  <a:lnTo>
                    <a:pt x="482" y="1789"/>
                  </a:lnTo>
                  <a:lnTo>
                    <a:pt x="419" y="1755"/>
                  </a:lnTo>
                  <a:close/>
                  <a:moveTo>
                    <a:pt x="418" y="1239"/>
                  </a:moveTo>
                  <a:lnTo>
                    <a:pt x="418" y="1648"/>
                  </a:lnTo>
                  <a:lnTo>
                    <a:pt x="479" y="1624"/>
                  </a:lnTo>
                  <a:lnTo>
                    <a:pt x="538" y="1602"/>
                  </a:lnTo>
                  <a:lnTo>
                    <a:pt x="593" y="1578"/>
                  </a:lnTo>
                  <a:lnTo>
                    <a:pt x="622" y="1562"/>
                  </a:lnTo>
                  <a:lnTo>
                    <a:pt x="645" y="1544"/>
                  </a:lnTo>
                  <a:lnTo>
                    <a:pt x="662" y="1526"/>
                  </a:lnTo>
                  <a:lnTo>
                    <a:pt x="671" y="1505"/>
                  </a:lnTo>
                  <a:lnTo>
                    <a:pt x="674" y="1485"/>
                  </a:lnTo>
                  <a:lnTo>
                    <a:pt x="670" y="1463"/>
                  </a:lnTo>
                  <a:lnTo>
                    <a:pt x="660" y="1440"/>
                  </a:lnTo>
                  <a:lnTo>
                    <a:pt x="644" y="1416"/>
                  </a:lnTo>
                  <a:lnTo>
                    <a:pt x="620" y="1392"/>
                  </a:lnTo>
                  <a:lnTo>
                    <a:pt x="573" y="1354"/>
                  </a:lnTo>
                  <a:lnTo>
                    <a:pt x="524" y="1317"/>
                  </a:lnTo>
                  <a:lnTo>
                    <a:pt x="472" y="1278"/>
                  </a:lnTo>
                  <a:lnTo>
                    <a:pt x="418" y="1239"/>
                  </a:lnTo>
                  <a:close/>
                  <a:moveTo>
                    <a:pt x="339" y="1230"/>
                  </a:moveTo>
                  <a:lnTo>
                    <a:pt x="288" y="1270"/>
                  </a:lnTo>
                  <a:lnTo>
                    <a:pt x="240" y="1307"/>
                  </a:lnTo>
                  <a:lnTo>
                    <a:pt x="196" y="1343"/>
                  </a:lnTo>
                  <a:lnTo>
                    <a:pt x="153" y="1378"/>
                  </a:lnTo>
                  <a:lnTo>
                    <a:pt x="113" y="1415"/>
                  </a:lnTo>
                  <a:lnTo>
                    <a:pt x="93" y="1440"/>
                  </a:lnTo>
                  <a:lnTo>
                    <a:pt x="80" y="1463"/>
                  </a:lnTo>
                  <a:lnTo>
                    <a:pt x="76" y="1487"/>
                  </a:lnTo>
                  <a:lnTo>
                    <a:pt x="80" y="1509"/>
                  </a:lnTo>
                  <a:lnTo>
                    <a:pt x="92" y="1529"/>
                  </a:lnTo>
                  <a:lnTo>
                    <a:pt x="111" y="1548"/>
                  </a:lnTo>
                  <a:lnTo>
                    <a:pt x="137" y="1566"/>
                  </a:lnTo>
                  <a:lnTo>
                    <a:pt x="184" y="1588"/>
                  </a:lnTo>
                  <a:lnTo>
                    <a:pt x="232" y="1610"/>
                  </a:lnTo>
                  <a:lnTo>
                    <a:pt x="284" y="1630"/>
                  </a:lnTo>
                  <a:lnTo>
                    <a:pt x="339" y="1653"/>
                  </a:lnTo>
                  <a:lnTo>
                    <a:pt x="339" y="1230"/>
                  </a:lnTo>
                  <a:close/>
                  <a:moveTo>
                    <a:pt x="300" y="961"/>
                  </a:moveTo>
                  <a:lnTo>
                    <a:pt x="300" y="961"/>
                  </a:lnTo>
                  <a:lnTo>
                    <a:pt x="299" y="964"/>
                  </a:lnTo>
                  <a:lnTo>
                    <a:pt x="300" y="961"/>
                  </a:lnTo>
                  <a:close/>
                  <a:moveTo>
                    <a:pt x="452" y="961"/>
                  </a:moveTo>
                  <a:lnTo>
                    <a:pt x="453" y="963"/>
                  </a:lnTo>
                  <a:lnTo>
                    <a:pt x="450" y="964"/>
                  </a:lnTo>
                  <a:lnTo>
                    <a:pt x="452" y="961"/>
                  </a:lnTo>
                  <a:close/>
                  <a:moveTo>
                    <a:pt x="381" y="0"/>
                  </a:moveTo>
                  <a:lnTo>
                    <a:pt x="414" y="3"/>
                  </a:lnTo>
                  <a:lnTo>
                    <a:pt x="448" y="13"/>
                  </a:lnTo>
                  <a:lnTo>
                    <a:pt x="479" y="27"/>
                  </a:lnTo>
                  <a:lnTo>
                    <a:pt x="510" y="47"/>
                  </a:lnTo>
                  <a:lnTo>
                    <a:pt x="537" y="71"/>
                  </a:lnTo>
                  <a:lnTo>
                    <a:pt x="558" y="98"/>
                  </a:lnTo>
                  <a:lnTo>
                    <a:pt x="575" y="128"/>
                  </a:lnTo>
                  <a:lnTo>
                    <a:pt x="587" y="161"/>
                  </a:lnTo>
                  <a:lnTo>
                    <a:pt x="594" y="193"/>
                  </a:lnTo>
                  <a:lnTo>
                    <a:pt x="596" y="227"/>
                  </a:lnTo>
                  <a:lnTo>
                    <a:pt x="591" y="262"/>
                  </a:lnTo>
                  <a:lnTo>
                    <a:pt x="580" y="294"/>
                  </a:lnTo>
                  <a:lnTo>
                    <a:pt x="563" y="326"/>
                  </a:lnTo>
                  <a:lnTo>
                    <a:pt x="544" y="353"/>
                  </a:lnTo>
                  <a:lnTo>
                    <a:pt x="519" y="378"/>
                  </a:lnTo>
                  <a:lnTo>
                    <a:pt x="491" y="400"/>
                  </a:lnTo>
                  <a:lnTo>
                    <a:pt x="462" y="416"/>
                  </a:lnTo>
                  <a:lnTo>
                    <a:pt x="442" y="428"/>
                  </a:lnTo>
                  <a:lnTo>
                    <a:pt x="426" y="442"/>
                  </a:lnTo>
                  <a:lnTo>
                    <a:pt x="418" y="457"/>
                  </a:lnTo>
                  <a:lnTo>
                    <a:pt x="413" y="475"/>
                  </a:lnTo>
                  <a:lnTo>
                    <a:pt x="412" y="498"/>
                  </a:lnTo>
                  <a:lnTo>
                    <a:pt x="413" y="703"/>
                  </a:lnTo>
                  <a:lnTo>
                    <a:pt x="413" y="909"/>
                  </a:lnTo>
                  <a:lnTo>
                    <a:pt x="412" y="919"/>
                  </a:lnTo>
                  <a:lnTo>
                    <a:pt x="413" y="930"/>
                  </a:lnTo>
                  <a:lnTo>
                    <a:pt x="413" y="940"/>
                  </a:lnTo>
                  <a:lnTo>
                    <a:pt x="416" y="948"/>
                  </a:lnTo>
                  <a:lnTo>
                    <a:pt x="420" y="955"/>
                  </a:lnTo>
                  <a:lnTo>
                    <a:pt x="428" y="961"/>
                  </a:lnTo>
                  <a:lnTo>
                    <a:pt x="438" y="964"/>
                  </a:lnTo>
                  <a:lnTo>
                    <a:pt x="450" y="964"/>
                  </a:lnTo>
                  <a:lnTo>
                    <a:pt x="429" y="988"/>
                  </a:lnTo>
                  <a:lnTo>
                    <a:pt x="452" y="988"/>
                  </a:lnTo>
                  <a:lnTo>
                    <a:pt x="471" y="989"/>
                  </a:lnTo>
                  <a:lnTo>
                    <a:pt x="489" y="990"/>
                  </a:lnTo>
                  <a:lnTo>
                    <a:pt x="503" y="993"/>
                  </a:lnTo>
                  <a:lnTo>
                    <a:pt x="518" y="996"/>
                  </a:lnTo>
                  <a:lnTo>
                    <a:pt x="531" y="1001"/>
                  </a:lnTo>
                  <a:lnTo>
                    <a:pt x="543" y="1008"/>
                  </a:lnTo>
                  <a:lnTo>
                    <a:pt x="556" y="1018"/>
                  </a:lnTo>
                  <a:lnTo>
                    <a:pt x="569" y="1030"/>
                  </a:lnTo>
                  <a:lnTo>
                    <a:pt x="584" y="1045"/>
                  </a:lnTo>
                  <a:lnTo>
                    <a:pt x="600" y="1063"/>
                  </a:lnTo>
                  <a:lnTo>
                    <a:pt x="618" y="1086"/>
                  </a:lnTo>
                  <a:lnTo>
                    <a:pt x="640" y="1113"/>
                  </a:lnTo>
                  <a:lnTo>
                    <a:pt x="664" y="1143"/>
                  </a:lnTo>
                  <a:lnTo>
                    <a:pt x="636" y="1155"/>
                  </a:lnTo>
                  <a:lnTo>
                    <a:pt x="609" y="1162"/>
                  </a:lnTo>
                  <a:lnTo>
                    <a:pt x="581" y="1164"/>
                  </a:lnTo>
                  <a:lnTo>
                    <a:pt x="554" y="1162"/>
                  </a:lnTo>
                  <a:lnTo>
                    <a:pt x="525" y="1155"/>
                  </a:lnTo>
                  <a:lnTo>
                    <a:pt x="494" y="1141"/>
                  </a:lnTo>
                  <a:lnTo>
                    <a:pt x="461" y="1125"/>
                  </a:lnTo>
                  <a:lnTo>
                    <a:pt x="426" y="1102"/>
                  </a:lnTo>
                  <a:lnTo>
                    <a:pt x="422" y="1119"/>
                  </a:lnTo>
                  <a:lnTo>
                    <a:pt x="419" y="1132"/>
                  </a:lnTo>
                  <a:lnTo>
                    <a:pt x="419" y="1141"/>
                  </a:lnTo>
                  <a:lnTo>
                    <a:pt x="422" y="1147"/>
                  </a:lnTo>
                  <a:lnTo>
                    <a:pt x="426" y="1152"/>
                  </a:lnTo>
                  <a:lnTo>
                    <a:pt x="434" y="1158"/>
                  </a:lnTo>
                  <a:lnTo>
                    <a:pt x="443" y="1164"/>
                  </a:lnTo>
                  <a:lnTo>
                    <a:pt x="455" y="1173"/>
                  </a:lnTo>
                  <a:lnTo>
                    <a:pt x="515" y="1221"/>
                  </a:lnTo>
                  <a:lnTo>
                    <a:pt x="574" y="1270"/>
                  </a:lnTo>
                  <a:lnTo>
                    <a:pt x="632" y="1320"/>
                  </a:lnTo>
                  <a:lnTo>
                    <a:pt x="686" y="1373"/>
                  </a:lnTo>
                  <a:lnTo>
                    <a:pt x="737" y="1427"/>
                  </a:lnTo>
                  <a:lnTo>
                    <a:pt x="748" y="1446"/>
                  </a:lnTo>
                  <a:lnTo>
                    <a:pt x="754" y="1466"/>
                  </a:lnTo>
                  <a:lnTo>
                    <a:pt x="757" y="1486"/>
                  </a:lnTo>
                  <a:lnTo>
                    <a:pt x="753" y="1508"/>
                  </a:lnTo>
                  <a:lnTo>
                    <a:pt x="746" y="1529"/>
                  </a:lnTo>
                  <a:lnTo>
                    <a:pt x="735" y="1551"/>
                  </a:lnTo>
                  <a:lnTo>
                    <a:pt x="721" y="1571"/>
                  </a:lnTo>
                  <a:lnTo>
                    <a:pt x="704" y="1590"/>
                  </a:lnTo>
                  <a:lnTo>
                    <a:pt x="683" y="1607"/>
                  </a:lnTo>
                  <a:lnTo>
                    <a:pt x="662" y="1623"/>
                  </a:lnTo>
                  <a:lnTo>
                    <a:pt x="609" y="1650"/>
                  </a:lnTo>
                  <a:lnTo>
                    <a:pt x="552" y="1676"/>
                  </a:lnTo>
                  <a:lnTo>
                    <a:pt x="492" y="1702"/>
                  </a:lnTo>
                  <a:lnTo>
                    <a:pt x="546" y="1732"/>
                  </a:lnTo>
                  <a:lnTo>
                    <a:pt x="598" y="1762"/>
                  </a:lnTo>
                  <a:lnTo>
                    <a:pt x="627" y="1784"/>
                  </a:lnTo>
                  <a:lnTo>
                    <a:pt x="648" y="1805"/>
                  </a:lnTo>
                  <a:lnTo>
                    <a:pt x="664" y="1828"/>
                  </a:lnTo>
                  <a:lnTo>
                    <a:pt x="671" y="1852"/>
                  </a:lnTo>
                  <a:lnTo>
                    <a:pt x="671" y="1876"/>
                  </a:lnTo>
                  <a:lnTo>
                    <a:pt x="665" y="1900"/>
                  </a:lnTo>
                  <a:lnTo>
                    <a:pt x="652" y="1924"/>
                  </a:lnTo>
                  <a:lnTo>
                    <a:pt x="630" y="1948"/>
                  </a:lnTo>
                  <a:lnTo>
                    <a:pt x="603" y="1970"/>
                  </a:lnTo>
                  <a:lnTo>
                    <a:pt x="575" y="1988"/>
                  </a:lnTo>
                  <a:lnTo>
                    <a:pt x="548" y="2003"/>
                  </a:lnTo>
                  <a:lnTo>
                    <a:pt x="524" y="2017"/>
                  </a:lnTo>
                  <a:lnTo>
                    <a:pt x="539" y="2036"/>
                  </a:lnTo>
                  <a:lnTo>
                    <a:pt x="556" y="2054"/>
                  </a:lnTo>
                  <a:lnTo>
                    <a:pt x="573" y="2073"/>
                  </a:lnTo>
                  <a:lnTo>
                    <a:pt x="590" y="2091"/>
                  </a:lnTo>
                  <a:lnTo>
                    <a:pt x="603" y="2110"/>
                  </a:lnTo>
                  <a:lnTo>
                    <a:pt x="612" y="2129"/>
                  </a:lnTo>
                  <a:lnTo>
                    <a:pt x="616" y="2149"/>
                  </a:lnTo>
                  <a:lnTo>
                    <a:pt x="615" y="2168"/>
                  </a:lnTo>
                  <a:lnTo>
                    <a:pt x="606" y="2187"/>
                  </a:lnTo>
                  <a:lnTo>
                    <a:pt x="594" y="2206"/>
                  </a:lnTo>
                  <a:lnTo>
                    <a:pt x="579" y="2226"/>
                  </a:lnTo>
                  <a:lnTo>
                    <a:pt x="563" y="2246"/>
                  </a:lnTo>
                  <a:lnTo>
                    <a:pt x="546" y="2265"/>
                  </a:lnTo>
                  <a:lnTo>
                    <a:pt x="532" y="2286"/>
                  </a:lnTo>
                  <a:lnTo>
                    <a:pt x="555" y="2308"/>
                  </a:lnTo>
                  <a:lnTo>
                    <a:pt x="573" y="2329"/>
                  </a:lnTo>
                  <a:lnTo>
                    <a:pt x="586" y="2346"/>
                  </a:lnTo>
                  <a:lnTo>
                    <a:pt x="596" y="2362"/>
                  </a:lnTo>
                  <a:lnTo>
                    <a:pt x="599" y="2378"/>
                  </a:lnTo>
                  <a:lnTo>
                    <a:pt x="599" y="2392"/>
                  </a:lnTo>
                  <a:lnTo>
                    <a:pt x="593" y="2408"/>
                  </a:lnTo>
                  <a:lnTo>
                    <a:pt x="582" y="2424"/>
                  </a:lnTo>
                  <a:lnTo>
                    <a:pt x="568" y="2440"/>
                  </a:lnTo>
                  <a:lnTo>
                    <a:pt x="548" y="2460"/>
                  </a:lnTo>
                  <a:lnTo>
                    <a:pt x="522" y="2481"/>
                  </a:lnTo>
                  <a:lnTo>
                    <a:pt x="532" y="2502"/>
                  </a:lnTo>
                  <a:lnTo>
                    <a:pt x="543" y="2523"/>
                  </a:lnTo>
                  <a:lnTo>
                    <a:pt x="552" y="2544"/>
                  </a:lnTo>
                  <a:lnTo>
                    <a:pt x="560" y="2563"/>
                  </a:lnTo>
                  <a:lnTo>
                    <a:pt x="560" y="2582"/>
                  </a:lnTo>
                  <a:lnTo>
                    <a:pt x="552" y="2600"/>
                  </a:lnTo>
                  <a:lnTo>
                    <a:pt x="540" y="2619"/>
                  </a:lnTo>
                  <a:lnTo>
                    <a:pt x="525" y="2637"/>
                  </a:lnTo>
                  <a:lnTo>
                    <a:pt x="508" y="2656"/>
                  </a:lnTo>
                  <a:lnTo>
                    <a:pt x="490" y="2677"/>
                  </a:lnTo>
                  <a:lnTo>
                    <a:pt x="509" y="2695"/>
                  </a:lnTo>
                  <a:lnTo>
                    <a:pt x="522" y="2714"/>
                  </a:lnTo>
                  <a:lnTo>
                    <a:pt x="528" y="2735"/>
                  </a:lnTo>
                  <a:lnTo>
                    <a:pt x="530" y="2754"/>
                  </a:lnTo>
                  <a:lnTo>
                    <a:pt x="525" y="2773"/>
                  </a:lnTo>
                  <a:lnTo>
                    <a:pt x="515" y="2791"/>
                  </a:lnTo>
                  <a:lnTo>
                    <a:pt x="500" y="2807"/>
                  </a:lnTo>
                  <a:lnTo>
                    <a:pt x="478" y="2822"/>
                  </a:lnTo>
                  <a:lnTo>
                    <a:pt x="467" y="2829"/>
                  </a:lnTo>
                  <a:lnTo>
                    <a:pt x="458" y="2839"/>
                  </a:lnTo>
                  <a:lnTo>
                    <a:pt x="449" y="2851"/>
                  </a:lnTo>
                  <a:lnTo>
                    <a:pt x="440" y="2863"/>
                  </a:lnTo>
                  <a:lnTo>
                    <a:pt x="430" y="2875"/>
                  </a:lnTo>
                  <a:lnTo>
                    <a:pt x="420" y="2886"/>
                  </a:lnTo>
                  <a:lnTo>
                    <a:pt x="411" y="2895"/>
                  </a:lnTo>
                  <a:lnTo>
                    <a:pt x="399" y="2901"/>
                  </a:lnTo>
                  <a:lnTo>
                    <a:pt x="387" y="2905"/>
                  </a:lnTo>
                  <a:lnTo>
                    <a:pt x="372" y="2904"/>
                  </a:lnTo>
                  <a:lnTo>
                    <a:pt x="358" y="2898"/>
                  </a:lnTo>
                  <a:lnTo>
                    <a:pt x="341" y="2885"/>
                  </a:lnTo>
                  <a:lnTo>
                    <a:pt x="311" y="2859"/>
                  </a:lnTo>
                  <a:lnTo>
                    <a:pt x="285" y="2837"/>
                  </a:lnTo>
                  <a:lnTo>
                    <a:pt x="264" y="2817"/>
                  </a:lnTo>
                  <a:lnTo>
                    <a:pt x="249" y="2801"/>
                  </a:lnTo>
                  <a:lnTo>
                    <a:pt x="237" y="2786"/>
                  </a:lnTo>
                  <a:lnTo>
                    <a:pt x="228" y="2773"/>
                  </a:lnTo>
                  <a:lnTo>
                    <a:pt x="224" y="2760"/>
                  </a:lnTo>
                  <a:lnTo>
                    <a:pt x="224" y="2748"/>
                  </a:lnTo>
                  <a:lnTo>
                    <a:pt x="225" y="2735"/>
                  </a:lnTo>
                  <a:lnTo>
                    <a:pt x="231" y="2721"/>
                  </a:lnTo>
                  <a:lnTo>
                    <a:pt x="238" y="2706"/>
                  </a:lnTo>
                  <a:lnTo>
                    <a:pt x="249" y="2688"/>
                  </a:lnTo>
                  <a:lnTo>
                    <a:pt x="262" y="2669"/>
                  </a:lnTo>
                  <a:lnTo>
                    <a:pt x="236" y="2646"/>
                  </a:lnTo>
                  <a:lnTo>
                    <a:pt x="215" y="2626"/>
                  </a:lnTo>
                  <a:lnTo>
                    <a:pt x="201" y="2608"/>
                  </a:lnTo>
                  <a:lnTo>
                    <a:pt x="191" y="2593"/>
                  </a:lnTo>
                  <a:lnTo>
                    <a:pt x="186" y="2577"/>
                  </a:lnTo>
                  <a:lnTo>
                    <a:pt x="186" y="2563"/>
                  </a:lnTo>
                  <a:lnTo>
                    <a:pt x="191" y="2547"/>
                  </a:lnTo>
                  <a:lnTo>
                    <a:pt x="201" y="2532"/>
                  </a:lnTo>
                  <a:lnTo>
                    <a:pt x="216" y="2512"/>
                  </a:lnTo>
                  <a:lnTo>
                    <a:pt x="234" y="2492"/>
                  </a:lnTo>
                  <a:lnTo>
                    <a:pt x="210" y="2467"/>
                  </a:lnTo>
                  <a:lnTo>
                    <a:pt x="190" y="2444"/>
                  </a:lnTo>
                  <a:lnTo>
                    <a:pt x="174" y="2425"/>
                  </a:lnTo>
                  <a:lnTo>
                    <a:pt x="162" y="2408"/>
                  </a:lnTo>
                  <a:lnTo>
                    <a:pt x="155" y="2392"/>
                  </a:lnTo>
                  <a:lnTo>
                    <a:pt x="153" y="2378"/>
                  </a:lnTo>
                  <a:lnTo>
                    <a:pt x="155" y="2365"/>
                  </a:lnTo>
                  <a:lnTo>
                    <a:pt x="161" y="2350"/>
                  </a:lnTo>
                  <a:lnTo>
                    <a:pt x="172" y="2335"/>
                  </a:lnTo>
                  <a:lnTo>
                    <a:pt x="186" y="2317"/>
                  </a:lnTo>
                  <a:lnTo>
                    <a:pt x="207" y="2298"/>
                  </a:lnTo>
                  <a:lnTo>
                    <a:pt x="230" y="2275"/>
                  </a:lnTo>
                  <a:lnTo>
                    <a:pt x="197" y="2250"/>
                  </a:lnTo>
                  <a:lnTo>
                    <a:pt x="171" y="2227"/>
                  </a:lnTo>
                  <a:lnTo>
                    <a:pt x="150" y="2206"/>
                  </a:lnTo>
                  <a:lnTo>
                    <a:pt x="136" y="2187"/>
                  </a:lnTo>
                  <a:lnTo>
                    <a:pt x="128" y="2169"/>
                  </a:lnTo>
                  <a:lnTo>
                    <a:pt x="125" y="2151"/>
                  </a:lnTo>
                  <a:lnTo>
                    <a:pt x="129" y="2133"/>
                  </a:lnTo>
                  <a:lnTo>
                    <a:pt x="138" y="2114"/>
                  </a:lnTo>
                  <a:lnTo>
                    <a:pt x="155" y="2095"/>
                  </a:lnTo>
                  <a:lnTo>
                    <a:pt x="177" y="2074"/>
                  </a:lnTo>
                  <a:lnTo>
                    <a:pt x="206" y="2051"/>
                  </a:lnTo>
                  <a:lnTo>
                    <a:pt x="240" y="2026"/>
                  </a:lnTo>
                  <a:lnTo>
                    <a:pt x="224" y="2014"/>
                  </a:lnTo>
                  <a:lnTo>
                    <a:pt x="206" y="2003"/>
                  </a:lnTo>
                  <a:lnTo>
                    <a:pt x="186" y="1994"/>
                  </a:lnTo>
                  <a:lnTo>
                    <a:pt x="167" y="1983"/>
                  </a:lnTo>
                  <a:lnTo>
                    <a:pt x="148" y="1972"/>
                  </a:lnTo>
                  <a:lnTo>
                    <a:pt x="131" y="1961"/>
                  </a:lnTo>
                  <a:lnTo>
                    <a:pt x="116" y="1948"/>
                  </a:lnTo>
                  <a:lnTo>
                    <a:pt x="102" y="1935"/>
                  </a:lnTo>
                  <a:lnTo>
                    <a:pt x="93" y="1919"/>
                  </a:lnTo>
                  <a:lnTo>
                    <a:pt x="86" y="1901"/>
                  </a:lnTo>
                  <a:lnTo>
                    <a:pt x="84" y="1882"/>
                  </a:lnTo>
                  <a:lnTo>
                    <a:pt x="88" y="1859"/>
                  </a:lnTo>
                  <a:lnTo>
                    <a:pt x="96" y="1837"/>
                  </a:lnTo>
                  <a:lnTo>
                    <a:pt x="111" y="1814"/>
                  </a:lnTo>
                  <a:lnTo>
                    <a:pt x="129" y="1793"/>
                  </a:lnTo>
                  <a:lnTo>
                    <a:pt x="149" y="1773"/>
                  </a:lnTo>
                  <a:lnTo>
                    <a:pt x="172" y="1753"/>
                  </a:lnTo>
                  <a:lnTo>
                    <a:pt x="195" y="1732"/>
                  </a:lnTo>
                  <a:lnTo>
                    <a:pt x="218" y="1713"/>
                  </a:lnTo>
                  <a:lnTo>
                    <a:pt x="238" y="1693"/>
                  </a:lnTo>
                  <a:lnTo>
                    <a:pt x="215" y="1683"/>
                  </a:lnTo>
                  <a:lnTo>
                    <a:pt x="186" y="1671"/>
                  </a:lnTo>
                  <a:lnTo>
                    <a:pt x="156" y="1659"/>
                  </a:lnTo>
                  <a:lnTo>
                    <a:pt x="124" y="1643"/>
                  </a:lnTo>
                  <a:lnTo>
                    <a:pt x="88" y="1623"/>
                  </a:lnTo>
                  <a:lnTo>
                    <a:pt x="58" y="1599"/>
                  </a:lnTo>
                  <a:lnTo>
                    <a:pt x="33" y="1572"/>
                  </a:lnTo>
                  <a:lnTo>
                    <a:pt x="16" y="1545"/>
                  </a:lnTo>
                  <a:lnTo>
                    <a:pt x="4" y="1516"/>
                  </a:lnTo>
                  <a:lnTo>
                    <a:pt x="0" y="1486"/>
                  </a:lnTo>
                  <a:lnTo>
                    <a:pt x="3" y="1456"/>
                  </a:lnTo>
                  <a:lnTo>
                    <a:pt x="12" y="1425"/>
                  </a:lnTo>
                  <a:lnTo>
                    <a:pt x="28" y="1395"/>
                  </a:lnTo>
                  <a:lnTo>
                    <a:pt x="52" y="1366"/>
                  </a:lnTo>
                  <a:lnTo>
                    <a:pt x="82" y="1337"/>
                  </a:lnTo>
                  <a:lnTo>
                    <a:pt x="107" y="1316"/>
                  </a:lnTo>
                  <a:lnTo>
                    <a:pt x="131" y="1293"/>
                  </a:lnTo>
                  <a:lnTo>
                    <a:pt x="154" y="1270"/>
                  </a:lnTo>
                  <a:lnTo>
                    <a:pt x="178" y="1246"/>
                  </a:lnTo>
                  <a:lnTo>
                    <a:pt x="203" y="1224"/>
                  </a:lnTo>
                  <a:lnTo>
                    <a:pt x="230" y="1204"/>
                  </a:lnTo>
                  <a:lnTo>
                    <a:pt x="257" y="1186"/>
                  </a:lnTo>
                  <a:lnTo>
                    <a:pt x="288" y="1173"/>
                  </a:lnTo>
                  <a:lnTo>
                    <a:pt x="322" y="1163"/>
                  </a:lnTo>
                  <a:lnTo>
                    <a:pt x="328" y="1158"/>
                  </a:lnTo>
                  <a:lnTo>
                    <a:pt x="333" y="1147"/>
                  </a:lnTo>
                  <a:lnTo>
                    <a:pt x="338" y="1131"/>
                  </a:lnTo>
                  <a:lnTo>
                    <a:pt x="342" y="1109"/>
                  </a:lnTo>
                  <a:lnTo>
                    <a:pt x="350" y="1085"/>
                  </a:lnTo>
                  <a:lnTo>
                    <a:pt x="316" y="1108"/>
                  </a:lnTo>
                  <a:lnTo>
                    <a:pt x="284" y="1128"/>
                  </a:lnTo>
                  <a:lnTo>
                    <a:pt x="251" y="1144"/>
                  </a:lnTo>
                  <a:lnTo>
                    <a:pt x="219" y="1155"/>
                  </a:lnTo>
                  <a:lnTo>
                    <a:pt x="186" y="1162"/>
                  </a:lnTo>
                  <a:lnTo>
                    <a:pt x="154" y="1163"/>
                  </a:lnTo>
                  <a:lnTo>
                    <a:pt x="119" y="1159"/>
                  </a:lnTo>
                  <a:lnTo>
                    <a:pt x="84" y="1150"/>
                  </a:lnTo>
                  <a:lnTo>
                    <a:pt x="107" y="1117"/>
                  </a:lnTo>
                  <a:lnTo>
                    <a:pt x="130" y="1085"/>
                  </a:lnTo>
                  <a:lnTo>
                    <a:pt x="153" y="1054"/>
                  </a:lnTo>
                  <a:lnTo>
                    <a:pt x="177" y="1025"/>
                  </a:lnTo>
                  <a:lnTo>
                    <a:pt x="203" y="999"/>
                  </a:lnTo>
                  <a:lnTo>
                    <a:pt x="215" y="991"/>
                  </a:lnTo>
                  <a:lnTo>
                    <a:pt x="230" y="988"/>
                  </a:lnTo>
                  <a:lnTo>
                    <a:pt x="246" y="985"/>
                  </a:lnTo>
                  <a:lnTo>
                    <a:pt x="266" y="985"/>
                  </a:lnTo>
                  <a:lnTo>
                    <a:pt x="284" y="987"/>
                  </a:lnTo>
                  <a:lnTo>
                    <a:pt x="303" y="987"/>
                  </a:lnTo>
                  <a:lnTo>
                    <a:pt x="320" y="985"/>
                  </a:lnTo>
                  <a:lnTo>
                    <a:pt x="315" y="979"/>
                  </a:lnTo>
                  <a:lnTo>
                    <a:pt x="308" y="971"/>
                  </a:lnTo>
                  <a:lnTo>
                    <a:pt x="300" y="961"/>
                  </a:lnTo>
                  <a:lnTo>
                    <a:pt x="310" y="952"/>
                  </a:lnTo>
                  <a:lnTo>
                    <a:pt x="323" y="940"/>
                  </a:lnTo>
                  <a:lnTo>
                    <a:pt x="333" y="928"/>
                  </a:lnTo>
                  <a:lnTo>
                    <a:pt x="338" y="916"/>
                  </a:lnTo>
                  <a:lnTo>
                    <a:pt x="340" y="772"/>
                  </a:lnTo>
                  <a:lnTo>
                    <a:pt x="340" y="626"/>
                  </a:lnTo>
                  <a:lnTo>
                    <a:pt x="336" y="482"/>
                  </a:lnTo>
                  <a:lnTo>
                    <a:pt x="332" y="468"/>
                  </a:lnTo>
                  <a:lnTo>
                    <a:pt x="322" y="452"/>
                  </a:lnTo>
                  <a:lnTo>
                    <a:pt x="306" y="437"/>
                  </a:lnTo>
                  <a:lnTo>
                    <a:pt x="291" y="424"/>
                  </a:lnTo>
                  <a:lnTo>
                    <a:pt x="274" y="413"/>
                  </a:lnTo>
                  <a:lnTo>
                    <a:pt x="244" y="392"/>
                  </a:lnTo>
                  <a:lnTo>
                    <a:pt x="218" y="368"/>
                  </a:lnTo>
                  <a:lnTo>
                    <a:pt x="196" y="341"/>
                  </a:lnTo>
                  <a:lnTo>
                    <a:pt x="179" y="312"/>
                  </a:lnTo>
                  <a:lnTo>
                    <a:pt x="166" y="281"/>
                  </a:lnTo>
                  <a:lnTo>
                    <a:pt x="160" y="247"/>
                  </a:lnTo>
                  <a:lnTo>
                    <a:pt x="158" y="214"/>
                  </a:lnTo>
                  <a:lnTo>
                    <a:pt x="161" y="180"/>
                  </a:lnTo>
                  <a:lnTo>
                    <a:pt x="171" y="146"/>
                  </a:lnTo>
                  <a:lnTo>
                    <a:pt x="185" y="113"/>
                  </a:lnTo>
                  <a:lnTo>
                    <a:pt x="206" y="84"/>
                  </a:lnTo>
                  <a:lnTo>
                    <a:pt x="228" y="59"/>
                  </a:lnTo>
                  <a:lnTo>
                    <a:pt x="255" y="37"/>
                  </a:lnTo>
                  <a:lnTo>
                    <a:pt x="285" y="21"/>
                  </a:lnTo>
                  <a:lnTo>
                    <a:pt x="315" y="9"/>
                  </a:lnTo>
                  <a:lnTo>
                    <a:pt x="348" y="2"/>
                  </a:lnTo>
                  <a:lnTo>
                    <a:pt x="3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"/>
            <p:cNvSpPr>
              <a:spLocks noEditPoints="1"/>
            </p:cNvSpPr>
            <p:nvPr/>
          </p:nvSpPr>
          <p:spPr bwMode="auto">
            <a:xfrm>
              <a:off x="2951163" y="1087438"/>
              <a:ext cx="3027363" cy="1603375"/>
            </a:xfrm>
            <a:custGeom>
              <a:avLst/>
              <a:gdLst>
                <a:gd name="T0" fmla="*/ 1907 w 1907"/>
                <a:gd name="T1" fmla="*/ 1007 h 1010"/>
                <a:gd name="T2" fmla="*/ 1906 w 1907"/>
                <a:gd name="T3" fmla="*/ 1009 h 1010"/>
                <a:gd name="T4" fmla="*/ 1901 w 1907"/>
                <a:gd name="T5" fmla="*/ 1006 h 1010"/>
                <a:gd name="T6" fmla="*/ 1449 w 1907"/>
                <a:gd name="T7" fmla="*/ 6 h 1010"/>
                <a:gd name="T8" fmla="*/ 1504 w 1907"/>
                <a:gd name="T9" fmla="*/ 33 h 1010"/>
                <a:gd name="T10" fmla="*/ 1545 w 1907"/>
                <a:gd name="T11" fmla="*/ 81 h 1010"/>
                <a:gd name="T12" fmla="*/ 1572 w 1907"/>
                <a:gd name="T13" fmla="*/ 150 h 1010"/>
                <a:gd name="T14" fmla="*/ 1590 w 1907"/>
                <a:gd name="T15" fmla="*/ 281 h 1010"/>
                <a:gd name="T16" fmla="*/ 1596 w 1907"/>
                <a:gd name="T17" fmla="*/ 425 h 1010"/>
                <a:gd name="T18" fmla="*/ 1606 w 1907"/>
                <a:gd name="T19" fmla="*/ 534 h 1010"/>
                <a:gd name="T20" fmla="*/ 1626 w 1907"/>
                <a:gd name="T21" fmla="*/ 636 h 1010"/>
                <a:gd name="T22" fmla="*/ 1659 w 1907"/>
                <a:gd name="T23" fmla="*/ 734 h 1010"/>
                <a:gd name="T24" fmla="*/ 1707 w 1907"/>
                <a:gd name="T25" fmla="*/ 824 h 1010"/>
                <a:gd name="T26" fmla="*/ 1772 w 1907"/>
                <a:gd name="T27" fmla="*/ 905 h 1010"/>
                <a:gd name="T28" fmla="*/ 1856 w 1907"/>
                <a:gd name="T29" fmla="*/ 977 h 1010"/>
                <a:gd name="T30" fmla="*/ 1864 w 1907"/>
                <a:gd name="T31" fmla="*/ 1000 h 1010"/>
                <a:gd name="T32" fmla="*/ 1790 w 1907"/>
                <a:gd name="T33" fmla="*/ 973 h 1010"/>
                <a:gd name="T34" fmla="*/ 1725 w 1907"/>
                <a:gd name="T35" fmla="*/ 929 h 1010"/>
                <a:gd name="T36" fmla="*/ 1669 w 1907"/>
                <a:gd name="T37" fmla="*/ 874 h 1010"/>
                <a:gd name="T38" fmla="*/ 1618 w 1907"/>
                <a:gd name="T39" fmla="*/ 809 h 1010"/>
                <a:gd name="T40" fmla="*/ 1563 w 1907"/>
                <a:gd name="T41" fmla="*/ 705 h 1010"/>
                <a:gd name="T42" fmla="*/ 1528 w 1907"/>
                <a:gd name="T43" fmla="*/ 594 h 1010"/>
                <a:gd name="T44" fmla="*/ 1508 w 1907"/>
                <a:gd name="T45" fmla="*/ 480 h 1010"/>
                <a:gd name="T46" fmla="*/ 1494 w 1907"/>
                <a:gd name="T47" fmla="*/ 364 h 1010"/>
                <a:gd name="T48" fmla="*/ 1480 w 1907"/>
                <a:gd name="T49" fmla="*/ 241 h 1010"/>
                <a:gd name="T50" fmla="*/ 1463 w 1907"/>
                <a:gd name="T51" fmla="*/ 154 h 1010"/>
                <a:gd name="T52" fmla="*/ 1442 w 1907"/>
                <a:gd name="T53" fmla="*/ 123 h 1010"/>
                <a:gd name="T54" fmla="*/ 1409 w 1907"/>
                <a:gd name="T55" fmla="*/ 108 h 1010"/>
                <a:gd name="T56" fmla="*/ 1367 w 1907"/>
                <a:gd name="T57" fmla="*/ 113 h 1010"/>
                <a:gd name="T58" fmla="*/ 1259 w 1907"/>
                <a:gd name="T59" fmla="*/ 151 h 1010"/>
                <a:gd name="T60" fmla="*/ 1220 w 1907"/>
                <a:gd name="T61" fmla="*/ 223 h 1010"/>
                <a:gd name="T62" fmla="*/ 1252 w 1907"/>
                <a:gd name="T63" fmla="*/ 324 h 1010"/>
                <a:gd name="T64" fmla="*/ 1064 w 1907"/>
                <a:gd name="T65" fmla="*/ 364 h 1010"/>
                <a:gd name="T66" fmla="*/ 874 w 1907"/>
                <a:gd name="T67" fmla="*/ 396 h 1010"/>
                <a:gd name="T68" fmla="*/ 684 w 1907"/>
                <a:gd name="T69" fmla="*/ 414 h 1010"/>
                <a:gd name="T70" fmla="*/ 493 w 1907"/>
                <a:gd name="T71" fmla="*/ 413 h 1010"/>
                <a:gd name="T72" fmla="*/ 301 w 1907"/>
                <a:gd name="T73" fmla="*/ 388 h 1010"/>
                <a:gd name="T74" fmla="*/ 196 w 1907"/>
                <a:gd name="T75" fmla="*/ 357 h 1010"/>
                <a:gd name="T76" fmla="*/ 113 w 1907"/>
                <a:gd name="T77" fmla="*/ 309 h 1010"/>
                <a:gd name="T78" fmla="*/ 53 w 1907"/>
                <a:gd name="T79" fmla="*/ 248 h 1010"/>
                <a:gd name="T80" fmla="*/ 14 w 1907"/>
                <a:gd name="T81" fmla="*/ 173 h 1010"/>
                <a:gd name="T82" fmla="*/ 0 w 1907"/>
                <a:gd name="T83" fmla="*/ 87 h 1010"/>
                <a:gd name="T84" fmla="*/ 2 w 1907"/>
                <a:gd name="T85" fmla="*/ 69 h 1010"/>
                <a:gd name="T86" fmla="*/ 20 w 1907"/>
                <a:gd name="T87" fmla="*/ 70 h 1010"/>
                <a:gd name="T88" fmla="*/ 50 w 1907"/>
                <a:gd name="T89" fmla="*/ 97 h 1010"/>
                <a:gd name="T90" fmla="*/ 137 w 1907"/>
                <a:gd name="T91" fmla="*/ 166 h 1010"/>
                <a:gd name="T92" fmla="*/ 232 w 1907"/>
                <a:gd name="T93" fmla="*/ 211 h 1010"/>
                <a:gd name="T94" fmla="*/ 335 w 1907"/>
                <a:gd name="T95" fmla="*/ 238 h 1010"/>
                <a:gd name="T96" fmla="*/ 444 w 1907"/>
                <a:gd name="T97" fmla="*/ 249 h 1010"/>
                <a:gd name="T98" fmla="*/ 625 w 1907"/>
                <a:gd name="T99" fmla="*/ 244 h 1010"/>
                <a:gd name="T100" fmla="*/ 801 w 1907"/>
                <a:gd name="T101" fmla="*/ 214 h 1010"/>
                <a:gd name="T102" fmla="*/ 971 w 1907"/>
                <a:gd name="T103" fmla="*/ 162 h 1010"/>
                <a:gd name="T104" fmla="*/ 1138 w 1907"/>
                <a:gd name="T105" fmla="*/ 91 h 1010"/>
                <a:gd name="T106" fmla="*/ 1245 w 1907"/>
                <a:gd name="T107" fmla="*/ 41 h 1010"/>
                <a:gd name="T108" fmla="*/ 1342 w 1907"/>
                <a:gd name="T109" fmla="*/ 7 h 1010"/>
                <a:gd name="T110" fmla="*/ 1416 w 1907"/>
                <a:gd name="T111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07" h="1010">
                  <a:moveTo>
                    <a:pt x="1901" y="1006"/>
                  </a:moveTo>
                  <a:lnTo>
                    <a:pt x="1907" y="1007"/>
                  </a:lnTo>
                  <a:lnTo>
                    <a:pt x="1906" y="1009"/>
                  </a:lnTo>
                  <a:lnTo>
                    <a:pt x="1906" y="1009"/>
                  </a:lnTo>
                  <a:lnTo>
                    <a:pt x="1906" y="1010"/>
                  </a:lnTo>
                  <a:lnTo>
                    <a:pt x="1901" y="1006"/>
                  </a:lnTo>
                  <a:close/>
                  <a:moveTo>
                    <a:pt x="1416" y="0"/>
                  </a:moveTo>
                  <a:lnTo>
                    <a:pt x="1449" y="6"/>
                  </a:lnTo>
                  <a:lnTo>
                    <a:pt x="1478" y="16"/>
                  </a:lnTo>
                  <a:lnTo>
                    <a:pt x="1504" y="33"/>
                  </a:lnTo>
                  <a:lnTo>
                    <a:pt x="1526" y="54"/>
                  </a:lnTo>
                  <a:lnTo>
                    <a:pt x="1545" y="81"/>
                  </a:lnTo>
                  <a:lnTo>
                    <a:pt x="1560" y="113"/>
                  </a:lnTo>
                  <a:lnTo>
                    <a:pt x="1572" y="150"/>
                  </a:lnTo>
                  <a:lnTo>
                    <a:pt x="1580" y="192"/>
                  </a:lnTo>
                  <a:lnTo>
                    <a:pt x="1590" y="281"/>
                  </a:lnTo>
                  <a:lnTo>
                    <a:pt x="1595" y="370"/>
                  </a:lnTo>
                  <a:lnTo>
                    <a:pt x="1596" y="425"/>
                  </a:lnTo>
                  <a:lnTo>
                    <a:pt x="1600" y="480"/>
                  </a:lnTo>
                  <a:lnTo>
                    <a:pt x="1606" y="534"/>
                  </a:lnTo>
                  <a:lnTo>
                    <a:pt x="1614" y="586"/>
                  </a:lnTo>
                  <a:lnTo>
                    <a:pt x="1626" y="636"/>
                  </a:lnTo>
                  <a:lnTo>
                    <a:pt x="1641" y="687"/>
                  </a:lnTo>
                  <a:lnTo>
                    <a:pt x="1659" y="734"/>
                  </a:lnTo>
                  <a:lnTo>
                    <a:pt x="1681" y="779"/>
                  </a:lnTo>
                  <a:lnTo>
                    <a:pt x="1707" y="824"/>
                  </a:lnTo>
                  <a:lnTo>
                    <a:pt x="1737" y="866"/>
                  </a:lnTo>
                  <a:lnTo>
                    <a:pt x="1772" y="905"/>
                  </a:lnTo>
                  <a:lnTo>
                    <a:pt x="1811" y="943"/>
                  </a:lnTo>
                  <a:lnTo>
                    <a:pt x="1856" y="977"/>
                  </a:lnTo>
                  <a:lnTo>
                    <a:pt x="1901" y="1006"/>
                  </a:lnTo>
                  <a:lnTo>
                    <a:pt x="1864" y="1000"/>
                  </a:lnTo>
                  <a:lnTo>
                    <a:pt x="1826" y="988"/>
                  </a:lnTo>
                  <a:lnTo>
                    <a:pt x="1790" y="973"/>
                  </a:lnTo>
                  <a:lnTo>
                    <a:pt x="1756" y="952"/>
                  </a:lnTo>
                  <a:lnTo>
                    <a:pt x="1725" y="929"/>
                  </a:lnTo>
                  <a:lnTo>
                    <a:pt x="1695" y="903"/>
                  </a:lnTo>
                  <a:lnTo>
                    <a:pt x="1669" y="874"/>
                  </a:lnTo>
                  <a:lnTo>
                    <a:pt x="1642" y="843"/>
                  </a:lnTo>
                  <a:lnTo>
                    <a:pt x="1618" y="809"/>
                  </a:lnTo>
                  <a:lnTo>
                    <a:pt x="1588" y="759"/>
                  </a:lnTo>
                  <a:lnTo>
                    <a:pt x="1563" y="705"/>
                  </a:lnTo>
                  <a:lnTo>
                    <a:pt x="1544" y="651"/>
                  </a:lnTo>
                  <a:lnTo>
                    <a:pt x="1528" y="594"/>
                  </a:lnTo>
                  <a:lnTo>
                    <a:pt x="1516" y="538"/>
                  </a:lnTo>
                  <a:lnTo>
                    <a:pt x="1508" y="480"/>
                  </a:lnTo>
                  <a:lnTo>
                    <a:pt x="1500" y="423"/>
                  </a:lnTo>
                  <a:lnTo>
                    <a:pt x="1494" y="364"/>
                  </a:lnTo>
                  <a:lnTo>
                    <a:pt x="1488" y="306"/>
                  </a:lnTo>
                  <a:lnTo>
                    <a:pt x="1480" y="241"/>
                  </a:lnTo>
                  <a:lnTo>
                    <a:pt x="1469" y="177"/>
                  </a:lnTo>
                  <a:lnTo>
                    <a:pt x="1463" y="154"/>
                  </a:lnTo>
                  <a:lnTo>
                    <a:pt x="1454" y="137"/>
                  </a:lnTo>
                  <a:lnTo>
                    <a:pt x="1442" y="123"/>
                  </a:lnTo>
                  <a:lnTo>
                    <a:pt x="1426" y="113"/>
                  </a:lnTo>
                  <a:lnTo>
                    <a:pt x="1409" y="108"/>
                  </a:lnTo>
                  <a:lnTo>
                    <a:pt x="1389" y="108"/>
                  </a:lnTo>
                  <a:lnTo>
                    <a:pt x="1367" y="113"/>
                  </a:lnTo>
                  <a:lnTo>
                    <a:pt x="1313" y="131"/>
                  </a:lnTo>
                  <a:lnTo>
                    <a:pt x="1259" y="151"/>
                  </a:lnTo>
                  <a:lnTo>
                    <a:pt x="1203" y="173"/>
                  </a:lnTo>
                  <a:lnTo>
                    <a:pt x="1220" y="223"/>
                  </a:lnTo>
                  <a:lnTo>
                    <a:pt x="1235" y="273"/>
                  </a:lnTo>
                  <a:lnTo>
                    <a:pt x="1252" y="324"/>
                  </a:lnTo>
                  <a:lnTo>
                    <a:pt x="1157" y="345"/>
                  </a:lnTo>
                  <a:lnTo>
                    <a:pt x="1064" y="364"/>
                  </a:lnTo>
                  <a:lnTo>
                    <a:pt x="969" y="382"/>
                  </a:lnTo>
                  <a:lnTo>
                    <a:pt x="874" y="396"/>
                  </a:lnTo>
                  <a:lnTo>
                    <a:pt x="779" y="407"/>
                  </a:lnTo>
                  <a:lnTo>
                    <a:pt x="684" y="414"/>
                  </a:lnTo>
                  <a:lnTo>
                    <a:pt x="588" y="417"/>
                  </a:lnTo>
                  <a:lnTo>
                    <a:pt x="493" y="413"/>
                  </a:lnTo>
                  <a:lnTo>
                    <a:pt x="397" y="405"/>
                  </a:lnTo>
                  <a:lnTo>
                    <a:pt x="301" y="388"/>
                  </a:lnTo>
                  <a:lnTo>
                    <a:pt x="246" y="374"/>
                  </a:lnTo>
                  <a:lnTo>
                    <a:pt x="196" y="357"/>
                  </a:lnTo>
                  <a:lnTo>
                    <a:pt x="151" y="334"/>
                  </a:lnTo>
                  <a:lnTo>
                    <a:pt x="113" y="309"/>
                  </a:lnTo>
                  <a:lnTo>
                    <a:pt x="79" y="280"/>
                  </a:lnTo>
                  <a:lnTo>
                    <a:pt x="53" y="248"/>
                  </a:lnTo>
                  <a:lnTo>
                    <a:pt x="30" y="211"/>
                  </a:lnTo>
                  <a:lnTo>
                    <a:pt x="14" y="173"/>
                  </a:lnTo>
                  <a:lnTo>
                    <a:pt x="5" y="131"/>
                  </a:lnTo>
                  <a:lnTo>
                    <a:pt x="0" y="87"/>
                  </a:lnTo>
                  <a:lnTo>
                    <a:pt x="0" y="78"/>
                  </a:lnTo>
                  <a:lnTo>
                    <a:pt x="2" y="69"/>
                  </a:lnTo>
                  <a:lnTo>
                    <a:pt x="4" y="55"/>
                  </a:lnTo>
                  <a:lnTo>
                    <a:pt x="20" y="70"/>
                  </a:lnTo>
                  <a:lnTo>
                    <a:pt x="36" y="84"/>
                  </a:lnTo>
                  <a:lnTo>
                    <a:pt x="50" y="97"/>
                  </a:lnTo>
                  <a:lnTo>
                    <a:pt x="92" y="135"/>
                  </a:lnTo>
                  <a:lnTo>
                    <a:pt x="137" y="166"/>
                  </a:lnTo>
                  <a:lnTo>
                    <a:pt x="184" y="191"/>
                  </a:lnTo>
                  <a:lnTo>
                    <a:pt x="232" y="211"/>
                  </a:lnTo>
                  <a:lnTo>
                    <a:pt x="283" y="227"/>
                  </a:lnTo>
                  <a:lnTo>
                    <a:pt x="335" y="238"/>
                  </a:lnTo>
                  <a:lnTo>
                    <a:pt x="389" y="245"/>
                  </a:lnTo>
                  <a:lnTo>
                    <a:pt x="444" y="249"/>
                  </a:lnTo>
                  <a:lnTo>
                    <a:pt x="535" y="250"/>
                  </a:lnTo>
                  <a:lnTo>
                    <a:pt x="625" y="244"/>
                  </a:lnTo>
                  <a:lnTo>
                    <a:pt x="714" y="232"/>
                  </a:lnTo>
                  <a:lnTo>
                    <a:pt x="801" y="214"/>
                  </a:lnTo>
                  <a:lnTo>
                    <a:pt x="887" y="191"/>
                  </a:lnTo>
                  <a:lnTo>
                    <a:pt x="971" y="162"/>
                  </a:lnTo>
                  <a:lnTo>
                    <a:pt x="1055" y="129"/>
                  </a:lnTo>
                  <a:lnTo>
                    <a:pt x="1138" y="91"/>
                  </a:lnTo>
                  <a:lnTo>
                    <a:pt x="1191" y="65"/>
                  </a:lnTo>
                  <a:lnTo>
                    <a:pt x="1245" y="41"/>
                  </a:lnTo>
                  <a:lnTo>
                    <a:pt x="1300" y="19"/>
                  </a:lnTo>
                  <a:lnTo>
                    <a:pt x="1342" y="7"/>
                  </a:lnTo>
                  <a:lnTo>
                    <a:pt x="1380" y="1"/>
                  </a:lnTo>
                  <a:lnTo>
                    <a:pt x="14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8"/>
            <p:cNvSpPr>
              <a:spLocks noEditPoints="1"/>
            </p:cNvSpPr>
            <p:nvPr/>
          </p:nvSpPr>
          <p:spPr bwMode="auto">
            <a:xfrm>
              <a:off x="6219826" y="1087438"/>
              <a:ext cx="3017838" cy="1601788"/>
            </a:xfrm>
            <a:custGeom>
              <a:avLst/>
              <a:gdLst>
                <a:gd name="T0" fmla="*/ 1 w 1901"/>
                <a:gd name="T1" fmla="*/ 1009 h 1009"/>
                <a:gd name="T2" fmla="*/ 1 w 1901"/>
                <a:gd name="T3" fmla="*/ 1007 h 1009"/>
                <a:gd name="T4" fmla="*/ 4 w 1901"/>
                <a:gd name="T5" fmla="*/ 1006 h 1009"/>
                <a:gd name="T6" fmla="*/ 530 w 1901"/>
                <a:gd name="T7" fmla="*/ 1 h 1009"/>
                <a:gd name="T8" fmla="*/ 614 w 1901"/>
                <a:gd name="T9" fmla="*/ 23 h 1009"/>
                <a:gd name="T10" fmla="*/ 765 w 1901"/>
                <a:gd name="T11" fmla="*/ 85 h 1009"/>
                <a:gd name="T12" fmla="*/ 916 w 1901"/>
                <a:gd name="T13" fmla="*/ 151 h 1009"/>
                <a:gd name="T14" fmla="*/ 1086 w 1901"/>
                <a:gd name="T15" fmla="*/ 210 h 1009"/>
                <a:gd name="T16" fmla="*/ 1277 w 1901"/>
                <a:gd name="T17" fmla="*/ 245 h 1009"/>
                <a:gd name="T18" fmla="*/ 1472 w 1901"/>
                <a:gd name="T19" fmla="*/ 248 h 1009"/>
                <a:gd name="T20" fmla="*/ 1620 w 1901"/>
                <a:gd name="T21" fmla="*/ 228 h 1009"/>
                <a:gd name="T22" fmla="*/ 1708 w 1901"/>
                <a:gd name="T23" fmla="*/ 197 h 1009"/>
                <a:gd name="T24" fmla="*/ 1788 w 1901"/>
                <a:gd name="T25" fmla="*/ 151 h 1009"/>
                <a:gd name="T26" fmla="*/ 1861 w 1901"/>
                <a:gd name="T27" fmla="*/ 93 h 1009"/>
                <a:gd name="T28" fmla="*/ 1901 w 1901"/>
                <a:gd name="T29" fmla="*/ 95 h 1009"/>
                <a:gd name="T30" fmla="*/ 1897 w 1901"/>
                <a:gd name="T31" fmla="*/ 165 h 1009"/>
                <a:gd name="T32" fmla="*/ 1873 w 1901"/>
                <a:gd name="T33" fmla="*/ 228 h 1009"/>
                <a:gd name="T34" fmla="*/ 1828 w 1901"/>
                <a:gd name="T35" fmla="*/ 282 h 1009"/>
                <a:gd name="T36" fmla="*/ 1762 w 1901"/>
                <a:gd name="T37" fmla="*/ 324 h 1009"/>
                <a:gd name="T38" fmla="*/ 1618 w 1901"/>
                <a:gd name="T39" fmla="*/ 377 h 1009"/>
                <a:gd name="T40" fmla="*/ 1468 w 1901"/>
                <a:gd name="T41" fmla="*/ 407 h 1009"/>
                <a:gd name="T42" fmla="*/ 1262 w 1901"/>
                <a:gd name="T43" fmla="*/ 416 h 1009"/>
                <a:gd name="T44" fmla="*/ 1060 w 1901"/>
                <a:gd name="T45" fmla="*/ 401 h 1009"/>
                <a:gd name="T46" fmla="*/ 857 w 1901"/>
                <a:gd name="T47" fmla="*/ 368 h 1009"/>
                <a:gd name="T48" fmla="*/ 655 w 1901"/>
                <a:gd name="T49" fmla="*/ 323 h 1009"/>
                <a:gd name="T50" fmla="*/ 686 w 1901"/>
                <a:gd name="T51" fmla="*/ 229 h 1009"/>
                <a:gd name="T52" fmla="*/ 699 w 1901"/>
                <a:gd name="T53" fmla="*/ 184 h 1009"/>
                <a:gd name="T54" fmla="*/ 695 w 1901"/>
                <a:gd name="T55" fmla="*/ 177 h 1009"/>
                <a:gd name="T56" fmla="*/ 691 w 1901"/>
                <a:gd name="T57" fmla="*/ 173 h 1009"/>
                <a:gd name="T58" fmla="*/ 613 w 1901"/>
                <a:gd name="T59" fmla="*/ 137 h 1009"/>
                <a:gd name="T60" fmla="*/ 552 w 1901"/>
                <a:gd name="T61" fmla="*/ 115 h 1009"/>
                <a:gd name="T62" fmla="*/ 507 w 1901"/>
                <a:gd name="T63" fmla="*/ 108 h 1009"/>
                <a:gd name="T64" fmla="*/ 475 w 1901"/>
                <a:gd name="T65" fmla="*/ 115 h 1009"/>
                <a:gd name="T66" fmla="*/ 453 w 1901"/>
                <a:gd name="T67" fmla="*/ 136 h 1009"/>
                <a:gd name="T68" fmla="*/ 439 w 1901"/>
                <a:gd name="T69" fmla="*/ 169 h 1009"/>
                <a:gd name="T70" fmla="*/ 429 w 1901"/>
                <a:gd name="T71" fmla="*/ 217 h 1009"/>
                <a:gd name="T72" fmla="*/ 421 w 1901"/>
                <a:gd name="T73" fmla="*/ 279 h 1009"/>
                <a:gd name="T74" fmla="*/ 405 w 1901"/>
                <a:gd name="T75" fmla="*/ 416 h 1009"/>
                <a:gd name="T76" fmla="*/ 371 w 1901"/>
                <a:gd name="T77" fmla="*/ 618 h 1009"/>
                <a:gd name="T78" fmla="*/ 337 w 1901"/>
                <a:gd name="T79" fmla="*/ 723 h 1009"/>
                <a:gd name="T80" fmla="*/ 288 w 1901"/>
                <a:gd name="T81" fmla="*/ 814 h 1009"/>
                <a:gd name="T82" fmla="*/ 220 w 1901"/>
                <a:gd name="T83" fmla="*/ 893 h 1009"/>
                <a:gd name="T84" fmla="*/ 136 w 1901"/>
                <a:gd name="T85" fmla="*/ 958 h 1009"/>
                <a:gd name="T86" fmla="*/ 67 w 1901"/>
                <a:gd name="T87" fmla="*/ 993 h 1009"/>
                <a:gd name="T88" fmla="*/ 22 w 1901"/>
                <a:gd name="T89" fmla="*/ 1003 h 1009"/>
                <a:gd name="T90" fmla="*/ 60 w 1901"/>
                <a:gd name="T91" fmla="*/ 965 h 1009"/>
                <a:gd name="T92" fmla="*/ 156 w 1901"/>
                <a:gd name="T93" fmla="*/ 884 h 1009"/>
                <a:gd name="T94" fmla="*/ 218 w 1901"/>
                <a:gd name="T95" fmla="*/ 801 h 1009"/>
                <a:gd name="T96" fmla="*/ 261 w 1901"/>
                <a:gd name="T97" fmla="*/ 708 h 1009"/>
                <a:gd name="T98" fmla="*/ 288 w 1901"/>
                <a:gd name="T99" fmla="*/ 608 h 1009"/>
                <a:gd name="T100" fmla="*/ 306 w 1901"/>
                <a:gd name="T101" fmla="*/ 437 h 1009"/>
                <a:gd name="T102" fmla="*/ 326 w 1901"/>
                <a:gd name="T103" fmla="*/ 201 h 1009"/>
                <a:gd name="T104" fmla="*/ 345 w 1901"/>
                <a:gd name="T105" fmla="*/ 115 h 1009"/>
                <a:gd name="T106" fmla="*/ 380 w 1901"/>
                <a:gd name="T107" fmla="*/ 54 h 1009"/>
                <a:gd name="T108" fmla="*/ 429 w 1901"/>
                <a:gd name="T109" fmla="*/ 16 h 1009"/>
                <a:gd name="T110" fmla="*/ 493 w 1901"/>
                <a:gd name="T111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01" h="1009">
                  <a:moveTo>
                    <a:pt x="4" y="1006"/>
                  </a:moveTo>
                  <a:lnTo>
                    <a:pt x="1" y="1009"/>
                  </a:lnTo>
                  <a:lnTo>
                    <a:pt x="1" y="1009"/>
                  </a:lnTo>
                  <a:lnTo>
                    <a:pt x="1" y="1007"/>
                  </a:lnTo>
                  <a:lnTo>
                    <a:pt x="0" y="1007"/>
                  </a:lnTo>
                  <a:lnTo>
                    <a:pt x="4" y="1006"/>
                  </a:lnTo>
                  <a:close/>
                  <a:moveTo>
                    <a:pt x="493" y="0"/>
                  </a:moveTo>
                  <a:lnTo>
                    <a:pt x="530" y="1"/>
                  </a:lnTo>
                  <a:lnTo>
                    <a:pt x="571" y="9"/>
                  </a:lnTo>
                  <a:lnTo>
                    <a:pt x="614" y="23"/>
                  </a:lnTo>
                  <a:lnTo>
                    <a:pt x="691" y="53"/>
                  </a:lnTo>
                  <a:lnTo>
                    <a:pt x="765" y="85"/>
                  </a:lnTo>
                  <a:lnTo>
                    <a:pt x="840" y="119"/>
                  </a:lnTo>
                  <a:lnTo>
                    <a:pt x="916" y="151"/>
                  </a:lnTo>
                  <a:lnTo>
                    <a:pt x="992" y="180"/>
                  </a:lnTo>
                  <a:lnTo>
                    <a:pt x="1086" y="210"/>
                  </a:lnTo>
                  <a:lnTo>
                    <a:pt x="1181" y="231"/>
                  </a:lnTo>
                  <a:lnTo>
                    <a:pt x="1277" y="245"/>
                  </a:lnTo>
                  <a:lnTo>
                    <a:pt x="1374" y="250"/>
                  </a:lnTo>
                  <a:lnTo>
                    <a:pt x="1472" y="248"/>
                  </a:lnTo>
                  <a:lnTo>
                    <a:pt x="1571" y="238"/>
                  </a:lnTo>
                  <a:lnTo>
                    <a:pt x="1620" y="228"/>
                  </a:lnTo>
                  <a:lnTo>
                    <a:pt x="1666" y="215"/>
                  </a:lnTo>
                  <a:lnTo>
                    <a:pt x="1708" y="197"/>
                  </a:lnTo>
                  <a:lnTo>
                    <a:pt x="1750" y="177"/>
                  </a:lnTo>
                  <a:lnTo>
                    <a:pt x="1788" y="151"/>
                  </a:lnTo>
                  <a:lnTo>
                    <a:pt x="1825" y="123"/>
                  </a:lnTo>
                  <a:lnTo>
                    <a:pt x="1861" y="93"/>
                  </a:lnTo>
                  <a:lnTo>
                    <a:pt x="1896" y="58"/>
                  </a:lnTo>
                  <a:lnTo>
                    <a:pt x="1901" y="95"/>
                  </a:lnTo>
                  <a:lnTo>
                    <a:pt x="1901" y="131"/>
                  </a:lnTo>
                  <a:lnTo>
                    <a:pt x="1897" y="165"/>
                  </a:lnTo>
                  <a:lnTo>
                    <a:pt x="1888" y="198"/>
                  </a:lnTo>
                  <a:lnTo>
                    <a:pt x="1873" y="228"/>
                  </a:lnTo>
                  <a:lnTo>
                    <a:pt x="1853" y="257"/>
                  </a:lnTo>
                  <a:lnTo>
                    <a:pt x="1828" y="282"/>
                  </a:lnTo>
                  <a:lnTo>
                    <a:pt x="1798" y="305"/>
                  </a:lnTo>
                  <a:lnTo>
                    <a:pt x="1762" y="324"/>
                  </a:lnTo>
                  <a:lnTo>
                    <a:pt x="1692" y="353"/>
                  </a:lnTo>
                  <a:lnTo>
                    <a:pt x="1618" y="377"/>
                  </a:lnTo>
                  <a:lnTo>
                    <a:pt x="1543" y="395"/>
                  </a:lnTo>
                  <a:lnTo>
                    <a:pt x="1468" y="407"/>
                  </a:lnTo>
                  <a:lnTo>
                    <a:pt x="1364" y="414"/>
                  </a:lnTo>
                  <a:lnTo>
                    <a:pt x="1262" y="416"/>
                  </a:lnTo>
                  <a:lnTo>
                    <a:pt x="1160" y="411"/>
                  </a:lnTo>
                  <a:lnTo>
                    <a:pt x="1060" y="401"/>
                  </a:lnTo>
                  <a:lnTo>
                    <a:pt x="958" y="386"/>
                  </a:lnTo>
                  <a:lnTo>
                    <a:pt x="857" y="368"/>
                  </a:lnTo>
                  <a:lnTo>
                    <a:pt x="756" y="346"/>
                  </a:lnTo>
                  <a:lnTo>
                    <a:pt x="655" y="323"/>
                  </a:lnTo>
                  <a:lnTo>
                    <a:pt x="671" y="275"/>
                  </a:lnTo>
                  <a:lnTo>
                    <a:pt x="686" y="229"/>
                  </a:lnTo>
                  <a:lnTo>
                    <a:pt x="701" y="187"/>
                  </a:lnTo>
                  <a:lnTo>
                    <a:pt x="699" y="184"/>
                  </a:lnTo>
                  <a:lnTo>
                    <a:pt x="697" y="180"/>
                  </a:lnTo>
                  <a:lnTo>
                    <a:pt x="695" y="177"/>
                  </a:lnTo>
                  <a:lnTo>
                    <a:pt x="693" y="174"/>
                  </a:lnTo>
                  <a:lnTo>
                    <a:pt x="691" y="173"/>
                  </a:lnTo>
                  <a:lnTo>
                    <a:pt x="649" y="153"/>
                  </a:lnTo>
                  <a:lnTo>
                    <a:pt x="613" y="137"/>
                  </a:lnTo>
                  <a:lnTo>
                    <a:pt x="581" y="124"/>
                  </a:lnTo>
                  <a:lnTo>
                    <a:pt x="552" y="115"/>
                  </a:lnTo>
                  <a:lnTo>
                    <a:pt x="528" y="109"/>
                  </a:lnTo>
                  <a:lnTo>
                    <a:pt x="507" y="108"/>
                  </a:lnTo>
                  <a:lnTo>
                    <a:pt x="489" y="109"/>
                  </a:lnTo>
                  <a:lnTo>
                    <a:pt x="475" y="115"/>
                  </a:lnTo>
                  <a:lnTo>
                    <a:pt x="463" y="124"/>
                  </a:lnTo>
                  <a:lnTo>
                    <a:pt x="453" y="136"/>
                  </a:lnTo>
                  <a:lnTo>
                    <a:pt x="445" y="151"/>
                  </a:lnTo>
                  <a:lnTo>
                    <a:pt x="439" y="169"/>
                  </a:lnTo>
                  <a:lnTo>
                    <a:pt x="433" y="192"/>
                  </a:lnTo>
                  <a:lnTo>
                    <a:pt x="429" y="217"/>
                  </a:lnTo>
                  <a:lnTo>
                    <a:pt x="425" y="246"/>
                  </a:lnTo>
                  <a:lnTo>
                    <a:pt x="421" y="279"/>
                  </a:lnTo>
                  <a:lnTo>
                    <a:pt x="417" y="314"/>
                  </a:lnTo>
                  <a:lnTo>
                    <a:pt x="405" y="416"/>
                  </a:lnTo>
                  <a:lnTo>
                    <a:pt x="391" y="518"/>
                  </a:lnTo>
                  <a:lnTo>
                    <a:pt x="371" y="618"/>
                  </a:lnTo>
                  <a:lnTo>
                    <a:pt x="356" y="672"/>
                  </a:lnTo>
                  <a:lnTo>
                    <a:pt x="337" y="723"/>
                  </a:lnTo>
                  <a:lnTo>
                    <a:pt x="315" y="770"/>
                  </a:lnTo>
                  <a:lnTo>
                    <a:pt x="288" y="814"/>
                  </a:lnTo>
                  <a:lnTo>
                    <a:pt x="257" y="856"/>
                  </a:lnTo>
                  <a:lnTo>
                    <a:pt x="220" y="893"/>
                  </a:lnTo>
                  <a:lnTo>
                    <a:pt x="181" y="928"/>
                  </a:lnTo>
                  <a:lnTo>
                    <a:pt x="136" y="958"/>
                  </a:lnTo>
                  <a:lnTo>
                    <a:pt x="87" y="985"/>
                  </a:lnTo>
                  <a:lnTo>
                    <a:pt x="67" y="993"/>
                  </a:lnTo>
                  <a:lnTo>
                    <a:pt x="44" y="998"/>
                  </a:lnTo>
                  <a:lnTo>
                    <a:pt x="22" y="1003"/>
                  </a:lnTo>
                  <a:lnTo>
                    <a:pt x="4" y="1006"/>
                  </a:lnTo>
                  <a:lnTo>
                    <a:pt x="60" y="965"/>
                  </a:lnTo>
                  <a:lnTo>
                    <a:pt x="116" y="921"/>
                  </a:lnTo>
                  <a:lnTo>
                    <a:pt x="156" y="884"/>
                  </a:lnTo>
                  <a:lnTo>
                    <a:pt x="189" y="844"/>
                  </a:lnTo>
                  <a:lnTo>
                    <a:pt x="218" y="801"/>
                  </a:lnTo>
                  <a:lnTo>
                    <a:pt x="242" y="755"/>
                  </a:lnTo>
                  <a:lnTo>
                    <a:pt x="261" y="708"/>
                  </a:lnTo>
                  <a:lnTo>
                    <a:pt x="277" y="659"/>
                  </a:lnTo>
                  <a:lnTo>
                    <a:pt x="288" y="608"/>
                  </a:lnTo>
                  <a:lnTo>
                    <a:pt x="295" y="555"/>
                  </a:lnTo>
                  <a:lnTo>
                    <a:pt x="306" y="437"/>
                  </a:lnTo>
                  <a:lnTo>
                    <a:pt x="315" y="318"/>
                  </a:lnTo>
                  <a:lnTo>
                    <a:pt x="326" y="201"/>
                  </a:lnTo>
                  <a:lnTo>
                    <a:pt x="335" y="155"/>
                  </a:lnTo>
                  <a:lnTo>
                    <a:pt x="345" y="115"/>
                  </a:lnTo>
                  <a:lnTo>
                    <a:pt x="361" y="82"/>
                  </a:lnTo>
                  <a:lnTo>
                    <a:pt x="380" y="54"/>
                  </a:lnTo>
                  <a:lnTo>
                    <a:pt x="403" y="31"/>
                  </a:lnTo>
                  <a:lnTo>
                    <a:pt x="429" y="16"/>
                  </a:lnTo>
                  <a:lnTo>
                    <a:pt x="459" y="5"/>
                  </a:lnTo>
                  <a:lnTo>
                    <a:pt x="4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9"/>
            <p:cNvSpPr>
              <a:spLocks/>
            </p:cNvSpPr>
            <p:nvPr/>
          </p:nvSpPr>
          <p:spPr bwMode="auto">
            <a:xfrm>
              <a:off x="7029451" y="1820863"/>
              <a:ext cx="1847850" cy="639763"/>
            </a:xfrm>
            <a:custGeom>
              <a:avLst/>
              <a:gdLst>
                <a:gd name="T0" fmla="*/ 73 w 1164"/>
                <a:gd name="T1" fmla="*/ 0 h 403"/>
                <a:gd name="T2" fmla="*/ 143 w 1164"/>
                <a:gd name="T3" fmla="*/ 24 h 403"/>
                <a:gd name="T4" fmla="*/ 212 w 1164"/>
                <a:gd name="T5" fmla="*/ 50 h 403"/>
                <a:gd name="T6" fmla="*/ 283 w 1164"/>
                <a:gd name="T7" fmla="*/ 75 h 403"/>
                <a:gd name="T8" fmla="*/ 353 w 1164"/>
                <a:gd name="T9" fmla="*/ 99 h 403"/>
                <a:gd name="T10" fmla="*/ 422 w 1164"/>
                <a:gd name="T11" fmla="*/ 123 h 403"/>
                <a:gd name="T12" fmla="*/ 492 w 1164"/>
                <a:gd name="T13" fmla="*/ 146 h 403"/>
                <a:gd name="T14" fmla="*/ 563 w 1164"/>
                <a:gd name="T15" fmla="*/ 166 h 403"/>
                <a:gd name="T16" fmla="*/ 634 w 1164"/>
                <a:gd name="T17" fmla="*/ 183 h 403"/>
                <a:gd name="T18" fmla="*/ 704 w 1164"/>
                <a:gd name="T19" fmla="*/ 197 h 403"/>
                <a:gd name="T20" fmla="*/ 776 w 1164"/>
                <a:gd name="T21" fmla="*/ 207 h 403"/>
                <a:gd name="T22" fmla="*/ 850 w 1164"/>
                <a:gd name="T23" fmla="*/ 213 h 403"/>
                <a:gd name="T24" fmla="*/ 923 w 1164"/>
                <a:gd name="T25" fmla="*/ 213 h 403"/>
                <a:gd name="T26" fmla="*/ 997 w 1164"/>
                <a:gd name="T27" fmla="*/ 207 h 403"/>
                <a:gd name="T28" fmla="*/ 1073 w 1164"/>
                <a:gd name="T29" fmla="*/ 195 h 403"/>
                <a:gd name="T30" fmla="*/ 1150 w 1164"/>
                <a:gd name="T31" fmla="*/ 174 h 403"/>
                <a:gd name="T32" fmla="*/ 1164 w 1164"/>
                <a:gd name="T33" fmla="*/ 194 h 403"/>
                <a:gd name="T34" fmla="*/ 1145 w 1164"/>
                <a:gd name="T35" fmla="*/ 218 h 403"/>
                <a:gd name="T36" fmla="*/ 1126 w 1164"/>
                <a:gd name="T37" fmla="*/ 242 h 403"/>
                <a:gd name="T38" fmla="*/ 1107 w 1164"/>
                <a:gd name="T39" fmla="*/ 266 h 403"/>
                <a:gd name="T40" fmla="*/ 1086 w 1164"/>
                <a:gd name="T41" fmla="*/ 289 h 403"/>
                <a:gd name="T42" fmla="*/ 1063 w 1164"/>
                <a:gd name="T43" fmla="*/ 308 h 403"/>
                <a:gd name="T44" fmla="*/ 1014 w 1164"/>
                <a:gd name="T45" fmla="*/ 339 h 403"/>
                <a:gd name="T46" fmla="*/ 962 w 1164"/>
                <a:gd name="T47" fmla="*/ 364 h 403"/>
                <a:gd name="T48" fmla="*/ 910 w 1164"/>
                <a:gd name="T49" fmla="*/ 382 h 403"/>
                <a:gd name="T50" fmla="*/ 856 w 1164"/>
                <a:gd name="T51" fmla="*/ 395 h 403"/>
                <a:gd name="T52" fmla="*/ 799 w 1164"/>
                <a:gd name="T53" fmla="*/ 401 h 403"/>
                <a:gd name="T54" fmla="*/ 743 w 1164"/>
                <a:gd name="T55" fmla="*/ 403 h 403"/>
                <a:gd name="T56" fmla="*/ 686 w 1164"/>
                <a:gd name="T57" fmla="*/ 400 h 403"/>
                <a:gd name="T58" fmla="*/ 628 w 1164"/>
                <a:gd name="T59" fmla="*/ 392 h 403"/>
                <a:gd name="T60" fmla="*/ 545 w 1164"/>
                <a:gd name="T61" fmla="*/ 374 h 403"/>
                <a:gd name="T62" fmla="*/ 462 w 1164"/>
                <a:gd name="T63" fmla="*/ 351 h 403"/>
                <a:gd name="T64" fmla="*/ 383 w 1164"/>
                <a:gd name="T65" fmla="*/ 322 h 403"/>
                <a:gd name="T66" fmla="*/ 305 w 1164"/>
                <a:gd name="T67" fmla="*/ 290 h 403"/>
                <a:gd name="T68" fmla="*/ 228 w 1164"/>
                <a:gd name="T69" fmla="*/ 254 h 403"/>
                <a:gd name="T70" fmla="*/ 151 w 1164"/>
                <a:gd name="T71" fmla="*/ 214 h 403"/>
                <a:gd name="T72" fmla="*/ 75 w 1164"/>
                <a:gd name="T73" fmla="*/ 172 h 403"/>
                <a:gd name="T74" fmla="*/ 0 w 1164"/>
                <a:gd name="T75" fmla="*/ 129 h 403"/>
                <a:gd name="T76" fmla="*/ 19 w 1164"/>
                <a:gd name="T77" fmla="*/ 95 h 403"/>
                <a:gd name="T78" fmla="*/ 37 w 1164"/>
                <a:gd name="T79" fmla="*/ 63 h 403"/>
                <a:gd name="T80" fmla="*/ 55 w 1164"/>
                <a:gd name="T81" fmla="*/ 32 h 403"/>
                <a:gd name="T82" fmla="*/ 73 w 1164"/>
                <a:gd name="T8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64" h="403">
                  <a:moveTo>
                    <a:pt x="73" y="0"/>
                  </a:moveTo>
                  <a:lnTo>
                    <a:pt x="143" y="24"/>
                  </a:lnTo>
                  <a:lnTo>
                    <a:pt x="212" y="50"/>
                  </a:lnTo>
                  <a:lnTo>
                    <a:pt x="283" y="75"/>
                  </a:lnTo>
                  <a:lnTo>
                    <a:pt x="353" y="99"/>
                  </a:lnTo>
                  <a:lnTo>
                    <a:pt x="422" y="123"/>
                  </a:lnTo>
                  <a:lnTo>
                    <a:pt x="492" y="146"/>
                  </a:lnTo>
                  <a:lnTo>
                    <a:pt x="563" y="166"/>
                  </a:lnTo>
                  <a:lnTo>
                    <a:pt x="634" y="183"/>
                  </a:lnTo>
                  <a:lnTo>
                    <a:pt x="704" y="197"/>
                  </a:lnTo>
                  <a:lnTo>
                    <a:pt x="776" y="207"/>
                  </a:lnTo>
                  <a:lnTo>
                    <a:pt x="850" y="213"/>
                  </a:lnTo>
                  <a:lnTo>
                    <a:pt x="923" y="213"/>
                  </a:lnTo>
                  <a:lnTo>
                    <a:pt x="997" y="207"/>
                  </a:lnTo>
                  <a:lnTo>
                    <a:pt x="1073" y="195"/>
                  </a:lnTo>
                  <a:lnTo>
                    <a:pt x="1150" y="174"/>
                  </a:lnTo>
                  <a:lnTo>
                    <a:pt x="1164" y="194"/>
                  </a:lnTo>
                  <a:lnTo>
                    <a:pt x="1145" y="218"/>
                  </a:lnTo>
                  <a:lnTo>
                    <a:pt x="1126" y="242"/>
                  </a:lnTo>
                  <a:lnTo>
                    <a:pt x="1107" y="266"/>
                  </a:lnTo>
                  <a:lnTo>
                    <a:pt x="1086" y="289"/>
                  </a:lnTo>
                  <a:lnTo>
                    <a:pt x="1063" y="308"/>
                  </a:lnTo>
                  <a:lnTo>
                    <a:pt x="1014" y="339"/>
                  </a:lnTo>
                  <a:lnTo>
                    <a:pt x="962" y="364"/>
                  </a:lnTo>
                  <a:lnTo>
                    <a:pt x="910" y="382"/>
                  </a:lnTo>
                  <a:lnTo>
                    <a:pt x="856" y="395"/>
                  </a:lnTo>
                  <a:lnTo>
                    <a:pt x="799" y="401"/>
                  </a:lnTo>
                  <a:lnTo>
                    <a:pt x="743" y="403"/>
                  </a:lnTo>
                  <a:lnTo>
                    <a:pt x="686" y="400"/>
                  </a:lnTo>
                  <a:lnTo>
                    <a:pt x="628" y="392"/>
                  </a:lnTo>
                  <a:lnTo>
                    <a:pt x="545" y="374"/>
                  </a:lnTo>
                  <a:lnTo>
                    <a:pt x="462" y="351"/>
                  </a:lnTo>
                  <a:lnTo>
                    <a:pt x="383" y="322"/>
                  </a:lnTo>
                  <a:lnTo>
                    <a:pt x="305" y="290"/>
                  </a:lnTo>
                  <a:lnTo>
                    <a:pt x="228" y="254"/>
                  </a:lnTo>
                  <a:lnTo>
                    <a:pt x="151" y="214"/>
                  </a:lnTo>
                  <a:lnTo>
                    <a:pt x="75" y="172"/>
                  </a:lnTo>
                  <a:lnTo>
                    <a:pt x="0" y="129"/>
                  </a:lnTo>
                  <a:lnTo>
                    <a:pt x="19" y="95"/>
                  </a:lnTo>
                  <a:lnTo>
                    <a:pt x="37" y="63"/>
                  </a:lnTo>
                  <a:lnTo>
                    <a:pt x="55" y="32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3322638" y="1819275"/>
              <a:ext cx="1847850" cy="635000"/>
            </a:xfrm>
            <a:custGeom>
              <a:avLst/>
              <a:gdLst>
                <a:gd name="T0" fmla="*/ 1090 w 1164"/>
                <a:gd name="T1" fmla="*/ 0 h 400"/>
                <a:gd name="T2" fmla="*/ 1114 w 1164"/>
                <a:gd name="T3" fmla="*/ 42 h 400"/>
                <a:gd name="T4" fmla="*/ 1138 w 1164"/>
                <a:gd name="T5" fmla="*/ 85 h 400"/>
                <a:gd name="T6" fmla="*/ 1164 w 1164"/>
                <a:gd name="T7" fmla="*/ 131 h 400"/>
                <a:gd name="T8" fmla="*/ 1103 w 1164"/>
                <a:gd name="T9" fmla="*/ 165 h 400"/>
                <a:gd name="T10" fmla="*/ 1042 w 1164"/>
                <a:gd name="T11" fmla="*/ 198 h 400"/>
                <a:gd name="T12" fmla="*/ 981 w 1164"/>
                <a:gd name="T13" fmla="*/ 231 h 400"/>
                <a:gd name="T14" fmla="*/ 920 w 1164"/>
                <a:gd name="T15" fmla="*/ 262 h 400"/>
                <a:gd name="T16" fmla="*/ 858 w 1164"/>
                <a:gd name="T17" fmla="*/ 292 h 400"/>
                <a:gd name="T18" fmla="*/ 796 w 1164"/>
                <a:gd name="T19" fmla="*/ 318 h 400"/>
                <a:gd name="T20" fmla="*/ 732 w 1164"/>
                <a:gd name="T21" fmla="*/ 342 h 400"/>
                <a:gd name="T22" fmla="*/ 669 w 1164"/>
                <a:gd name="T23" fmla="*/ 364 h 400"/>
                <a:gd name="T24" fmla="*/ 604 w 1164"/>
                <a:gd name="T25" fmla="*/ 381 h 400"/>
                <a:gd name="T26" fmla="*/ 538 w 1164"/>
                <a:gd name="T27" fmla="*/ 392 h 400"/>
                <a:gd name="T28" fmla="*/ 469 w 1164"/>
                <a:gd name="T29" fmla="*/ 399 h 400"/>
                <a:gd name="T30" fmla="*/ 400 w 1164"/>
                <a:gd name="T31" fmla="*/ 400 h 400"/>
                <a:gd name="T32" fmla="*/ 329 w 1164"/>
                <a:gd name="T33" fmla="*/ 394 h 400"/>
                <a:gd name="T34" fmla="*/ 277 w 1164"/>
                <a:gd name="T35" fmla="*/ 383 h 400"/>
                <a:gd name="T36" fmla="*/ 227 w 1164"/>
                <a:gd name="T37" fmla="*/ 366 h 400"/>
                <a:gd name="T38" fmla="*/ 178 w 1164"/>
                <a:gd name="T39" fmla="*/ 345 h 400"/>
                <a:gd name="T40" fmla="*/ 130 w 1164"/>
                <a:gd name="T41" fmla="*/ 320 h 400"/>
                <a:gd name="T42" fmla="*/ 82 w 1164"/>
                <a:gd name="T43" fmla="*/ 294 h 400"/>
                <a:gd name="T44" fmla="*/ 65 w 1164"/>
                <a:gd name="T45" fmla="*/ 282 h 400"/>
                <a:gd name="T46" fmla="*/ 50 w 1164"/>
                <a:gd name="T47" fmla="*/ 267 h 400"/>
                <a:gd name="T48" fmla="*/ 37 w 1164"/>
                <a:gd name="T49" fmla="*/ 249 h 400"/>
                <a:gd name="T50" fmla="*/ 25 w 1164"/>
                <a:gd name="T51" fmla="*/ 229 h 400"/>
                <a:gd name="T52" fmla="*/ 13 w 1164"/>
                <a:gd name="T53" fmla="*/ 210 h 400"/>
                <a:gd name="T54" fmla="*/ 0 w 1164"/>
                <a:gd name="T55" fmla="*/ 192 h 400"/>
                <a:gd name="T56" fmla="*/ 20 w 1164"/>
                <a:gd name="T57" fmla="*/ 179 h 400"/>
                <a:gd name="T58" fmla="*/ 96 w 1164"/>
                <a:gd name="T59" fmla="*/ 197 h 400"/>
                <a:gd name="T60" fmla="*/ 171 w 1164"/>
                <a:gd name="T61" fmla="*/ 208 h 400"/>
                <a:gd name="T62" fmla="*/ 244 w 1164"/>
                <a:gd name="T63" fmla="*/ 214 h 400"/>
                <a:gd name="T64" fmla="*/ 317 w 1164"/>
                <a:gd name="T65" fmla="*/ 213 h 400"/>
                <a:gd name="T66" fmla="*/ 389 w 1164"/>
                <a:gd name="T67" fmla="*/ 208 h 400"/>
                <a:gd name="T68" fmla="*/ 460 w 1164"/>
                <a:gd name="T69" fmla="*/ 198 h 400"/>
                <a:gd name="T70" fmla="*/ 531 w 1164"/>
                <a:gd name="T71" fmla="*/ 184 h 400"/>
                <a:gd name="T72" fmla="*/ 600 w 1164"/>
                <a:gd name="T73" fmla="*/ 167 h 400"/>
                <a:gd name="T74" fmla="*/ 671 w 1164"/>
                <a:gd name="T75" fmla="*/ 147 h 400"/>
                <a:gd name="T76" fmla="*/ 741 w 1164"/>
                <a:gd name="T77" fmla="*/ 124 h 400"/>
                <a:gd name="T78" fmla="*/ 810 w 1164"/>
                <a:gd name="T79" fmla="*/ 101 h 400"/>
                <a:gd name="T80" fmla="*/ 880 w 1164"/>
                <a:gd name="T81" fmla="*/ 76 h 400"/>
                <a:gd name="T82" fmla="*/ 950 w 1164"/>
                <a:gd name="T83" fmla="*/ 51 h 400"/>
                <a:gd name="T84" fmla="*/ 1020 w 1164"/>
                <a:gd name="T85" fmla="*/ 25 h 400"/>
                <a:gd name="T86" fmla="*/ 1090 w 1164"/>
                <a:gd name="T8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64" h="400">
                  <a:moveTo>
                    <a:pt x="1090" y="0"/>
                  </a:moveTo>
                  <a:lnTo>
                    <a:pt x="1114" y="42"/>
                  </a:lnTo>
                  <a:lnTo>
                    <a:pt x="1138" y="85"/>
                  </a:lnTo>
                  <a:lnTo>
                    <a:pt x="1164" y="131"/>
                  </a:lnTo>
                  <a:lnTo>
                    <a:pt x="1103" y="165"/>
                  </a:lnTo>
                  <a:lnTo>
                    <a:pt x="1042" y="198"/>
                  </a:lnTo>
                  <a:lnTo>
                    <a:pt x="981" y="231"/>
                  </a:lnTo>
                  <a:lnTo>
                    <a:pt x="920" y="262"/>
                  </a:lnTo>
                  <a:lnTo>
                    <a:pt x="858" y="292"/>
                  </a:lnTo>
                  <a:lnTo>
                    <a:pt x="796" y="318"/>
                  </a:lnTo>
                  <a:lnTo>
                    <a:pt x="732" y="342"/>
                  </a:lnTo>
                  <a:lnTo>
                    <a:pt x="669" y="364"/>
                  </a:lnTo>
                  <a:lnTo>
                    <a:pt x="604" y="381"/>
                  </a:lnTo>
                  <a:lnTo>
                    <a:pt x="538" y="392"/>
                  </a:lnTo>
                  <a:lnTo>
                    <a:pt x="469" y="399"/>
                  </a:lnTo>
                  <a:lnTo>
                    <a:pt x="400" y="400"/>
                  </a:lnTo>
                  <a:lnTo>
                    <a:pt x="329" y="394"/>
                  </a:lnTo>
                  <a:lnTo>
                    <a:pt x="277" y="383"/>
                  </a:lnTo>
                  <a:lnTo>
                    <a:pt x="227" y="366"/>
                  </a:lnTo>
                  <a:lnTo>
                    <a:pt x="178" y="345"/>
                  </a:lnTo>
                  <a:lnTo>
                    <a:pt x="130" y="320"/>
                  </a:lnTo>
                  <a:lnTo>
                    <a:pt x="82" y="294"/>
                  </a:lnTo>
                  <a:lnTo>
                    <a:pt x="65" y="282"/>
                  </a:lnTo>
                  <a:lnTo>
                    <a:pt x="50" y="267"/>
                  </a:lnTo>
                  <a:lnTo>
                    <a:pt x="37" y="249"/>
                  </a:lnTo>
                  <a:lnTo>
                    <a:pt x="25" y="229"/>
                  </a:lnTo>
                  <a:lnTo>
                    <a:pt x="13" y="210"/>
                  </a:lnTo>
                  <a:lnTo>
                    <a:pt x="0" y="192"/>
                  </a:lnTo>
                  <a:lnTo>
                    <a:pt x="20" y="179"/>
                  </a:lnTo>
                  <a:lnTo>
                    <a:pt x="96" y="197"/>
                  </a:lnTo>
                  <a:lnTo>
                    <a:pt x="171" y="208"/>
                  </a:lnTo>
                  <a:lnTo>
                    <a:pt x="244" y="214"/>
                  </a:lnTo>
                  <a:lnTo>
                    <a:pt x="317" y="213"/>
                  </a:lnTo>
                  <a:lnTo>
                    <a:pt x="389" y="208"/>
                  </a:lnTo>
                  <a:lnTo>
                    <a:pt x="460" y="198"/>
                  </a:lnTo>
                  <a:lnTo>
                    <a:pt x="531" y="184"/>
                  </a:lnTo>
                  <a:lnTo>
                    <a:pt x="600" y="167"/>
                  </a:lnTo>
                  <a:lnTo>
                    <a:pt x="671" y="147"/>
                  </a:lnTo>
                  <a:lnTo>
                    <a:pt x="741" y="124"/>
                  </a:lnTo>
                  <a:lnTo>
                    <a:pt x="810" y="101"/>
                  </a:lnTo>
                  <a:lnTo>
                    <a:pt x="880" y="76"/>
                  </a:lnTo>
                  <a:lnTo>
                    <a:pt x="950" y="51"/>
                  </a:lnTo>
                  <a:lnTo>
                    <a:pt x="1020" y="25"/>
                  </a:lnTo>
                  <a:lnTo>
                    <a:pt x="109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11"/>
            <p:cNvSpPr>
              <a:spLocks/>
            </p:cNvSpPr>
            <p:nvPr/>
          </p:nvSpPr>
          <p:spPr bwMode="auto">
            <a:xfrm>
              <a:off x="7165976" y="1644650"/>
              <a:ext cx="1965325" cy="446088"/>
            </a:xfrm>
            <a:custGeom>
              <a:avLst/>
              <a:gdLst>
                <a:gd name="T0" fmla="*/ 43 w 1238"/>
                <a:gd name="T1" fmla="*/ 0 h 281"/>
                <a:gd name="T2" fmla="*/ 121 w 1238"/>
                <a:gd name="T3" fmla="*/ 15 h 281"/>
                <a:gd name="T4" fmla="*/ 199 w 1238"/>
                <a:gd name="T5" fmla="*/ 31 h 281"/>
                <a:gd name="T6" fmla="*/ 277 w 1238"/>
                <a:gd name="T7" fmla="*/ 48 h 281"/>
                <a:gd name="T8" fmla="*/ 356 w 1238"/>
                <a:gd name="T9" fmla="*/ 62 h 281"/>
                <a:gd name="T10" fmla="*/ 435 w 1238"/>
                <a:gd name="T11" fmla="*/ 75 h 281"/>
                <a:gd name="T12" fmla="*/ 513 w 1238"/>
                <a:gd name="T13" fmla="*/ 87 h 281"/>
                <a:gd name="T14" fmla="*/ 592 w 1238"/>
                <a:gd name="T15" fmla="*/ 96 h 281"/>
                <a:gd name="T16" fmla="*/ 670 w 1238"/>
                <a:gd name="T17" fmla="*/ 102 h 281"/>
                <a:gd name="T18" fmla="*/ 750 w 1238"/>
                <a:gd name="T19" fmla="*/ 103 h 281"/>
                <a:gd name="T20" fmla="*/ 830 w 1238"/>
                <a:gd name="T21" fmla="*/ 101 h 281"/>
                <a:gd name="T22" fmla="*/ 910 w 1238"/>
                <a:gd name="T23" fmla="*/ 93 h 281"/>
                <a:gd name="T24" fmla="*/ 991 w 1238"/>
                <a:gd name="T25" fmla="*/ 81 h 281"/>
                <a:gd name="T26" fmla="*/ 1072 w 1238"/>
                <a:gd name="T27" fmla="*/ 62 h 281"/>
                <a:gd name="T28" fmla="*/ 1155 w 1238"/>
                <a:gd name="T29" fmla="*/ 37 h 281"/>
                <a:gd name="T30" fmla="*/ 1238 w 1238"/>
                <a:gd name="T31" fmla="*/ 5 h 281"/>
                <a:gd name="T32" fmla="*/ 1225 w 1238"/>
                <a:gd name="T33" fmla="*/ 37 h 281"/>
                <a:gd name="T34" fmla="*/ 1214 w 1238"/>
                <a:gd name="T35" fmla="*/ 66 h 281"/>
                <a:gd name="T36" fmla="*/ 1203 w 1238"/>
                <a:gd name="T37" fmla="*/ 91 h 281"/>
                <a:gd name="T38" fmla="*/ 1192 w 1238"/>
                <a:gd name="T39" fmla="*/ 115 h 281"/>
                <a:gd name="T40" fmla="*/ 1178 w 1238"/>
                <a:gd name="T41" fmla="*/ 134 h 281"/>
                <a:gd name="T42" fmla="*/ 1142 w 1238"/>
                <a:gd name="T43" fmla="*/ 170 h 281"/>
                <a:gd name="T44" fmla="*/ 1105 w 1238"/>
                <a:gd name="T45" fmla="*/ 200 h 281"/>
                <a:gd name="T46" fmla="*/ 1064 w 1238"/>
                <a:gd name="T47" fmla="*/ 225 h 281"/>
                <a:gd name="T48" fmla="*/ 1021 w 1238"/>
                <a:gd name="T49" fmla="*/ 245 h 281"/>
                <a:gd name="T50" fmla="*/ 976 w 1238"/>
                <a:gd name="T51" fmla="*/ 260 h 281"/>
                <a:gd name="T52" fmla="*/ 930 w 1238"/>
                <a:gd name="T53" fmla="*/ 271 h 281"/>
                <a:gd name="T54" fmla="*/ 884 w 1238"/>
                <a:gd name="T55" fmla="*/ 277 h 281"/>
                <a:gd name="T56" fmla="*/ 836 w 1238"/>
                <a:gd name="T57" fmla="*/ 281 h 281"/>
                <a:gd name="T58" fmla="*/ 786 w 1238"/>
                <a:gd name="T59" fmla="*/ 281 h 281"/>
                <a:gd name="T60" fmla="*/ 696 w 1238"/>
                <a:gd name="T61" fmla="*/ 276 h 281"/>
                <a:gd name="T62" fmla="*/ 608 w 1238"/>
                <a:gd name="T63" fmla="*/ 265 h 281"/>
                <a:gd name="T64" fmla="*/ 520 w 1238"/>
                <a:gd name="T65" fmla="*/ 249 h 281"/>
                <a:gd name="T66" fmla="*/ 432 w 1238"/>
                <a:gd name="T67" fmla="*/ 228 h 281"/>
                <a:gd name="T68" fmla="*/ 347 w 1238"/>
                <a:gd name="T69" fmla="*/ 204 h 281"/>
                <a:gd name="T70" fmla="*/ 261 w 1238"/>
                <a:gd name="T71" fmla="*/ 176 h 281"/>
                <a:gd name="T72" fmla="*/ 174 w 1238"/>
                <a:gd name="T73" fmla="*/ 147 h 281"/>
                <a:gd name="T74" fmla="*/ 88 w 1238"/>
                <a:gd name="T75" fmla="*/ 116 h 281"/>
                <a:gd name="T76" fmla="*/ 0 w 1238"/>
                <a:gd name="T77" fmla="*/ 85 h 281"/>
                <a:gd name="T78" fmla="*/ 16 w 1238"/>
                <a:gd name="T79" fmla="*/ 54 h 281"/>
                <a:gd name="T80" fmla="*/ 30 w 1238"/>
                <a:gd name="T81" fmla="*/ 26 h 281"/>
                <a:gd name="T82" fmla="*/ 43 w 1238"/>
                <a:gd name="T8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38" h="281">
                  <a:moveTo>
                    <a:pt x="43" y="0"/>
                  </a:moveTo>
                  <a:lnTo>
                    <a:pt x="121" y="15"/>
                  </a:lnTo>
                  <a:lnTo>
                    <a:pt x="199" y="31"/>
                  </a:lnTo>
                  <a:lnTo>
                    <a:pt x="277" y="48"/>
                  </a:lnTo>
                  <a:lnTo>
                    <a:pt x="356" y="62"/>
                  </a:lnTo>
                  <a:lnTo>
                    <a:pt x="435" y="75"/>
                  </a:lnTo>
                  <a:lnTo>
                    <a:pt x="513" y="87"/>
                  </a:lnTo>
                  <a:lnTo>
                    <a:pt x="592" y="96"/>
                  </a:lnTo>
                  <a:lnTo>
                    <a:pt x="670" y="102"/>
                  </a:lnTo>
                  <a:lnTo>
                    <a:pt x="750" y="103"/>
                  </a:lnTo>
                  <a:lnTo>
                    <a:pt x="830" y="101"/>
                  </a:lnTo>
                  <a:lnTo>
                    <a:pt x="910" y="93"/>
                  </a:lnTo>
                  <a:lnTo>
                    <a:pt x="991" y="81"/>
                  </a:lnTo>
                  <a:lnTo>
                    <a:pt x="1072" y="62"/>
                  </a:lnTo>
                  <a:lnTo>
                    <a:pt x="1155" y="37"/>
                  </a:lnTo>
                  <a:lnTo>
                    <a:pt x="1238" y="5"/>
                  </a:lnTo>
                  <a:lnTo>
                    <a:pt x="1225" y="37"/>
                  </a:lnTo>
                  <a:lnTo>
                    <a:pt x="1214" y="66"/>
                  </a:lnTo>
                  <a:lnTo>
                    <a:pt x="1203" y="91"/>
                  </a:lnTo>
                  <a:lnTo>
                    <a:pt x="1192" y="115"/>
                  </a:lnTo>
                  <a:lnTo>
                    <a:pt x="1178" y="134"/>
                  </a:lnTo>
                  <a:lnTo>
                    <a:pt x="1142" y="170"/>
                  </a:lnTo>
                  <a:lnTo>
                    <a:pt x="1105" y="200"/>
                  </a:lnTo>
                  <a:lnTo>
                    <a:pt x="1064" y="225"/>
                  </a:lnTo>
                  <a:lnTo>
                    <a:pt x="1021" y="245"/>
                  </a:lnTo>
                  <a:lnTo>
                    <a:pt x="976" y="260"/>
                  </a:lnTo>
                  <a:lnTo>
                    <a:pt x="930" y="271"/>
                  </a:lnTo>
                  <a:lnTo>
                    <a:pt x="884" y="277"/>
                  </a:lnTo>
                  <a:lnTo>
                    <a:pt x="836" y="281"/>
                  </a:lnTo>
                  <a:lnTo>
                    <a:pt x="786" y="281"/>
                  </a:lnTo>
                  <a:lnTo>
                    <a:pt x="696" y="276"/>
                  </a:lnTo>
                  <a:lnTo>
                    <a:pt x="608" y="265"/>
                  </a:lnTo>
                  <a:lnTo>
                    <a:pt x="520" y="249"/>
                  </a:lnTo>
                  <a:lnTo>
                    <a:pt x="432" y="228"/>
                  </a:lnTo>
                  <a:lnTo>
                    <a:pt x="347" y="204"/>
                  </a:lnTo>
                  <a:lnTo>
                    <a:pt x="261" y="176"/>
                  </a:lnTo>
                  <a:lnTo>
                    <a:pt x="174" y="147"/>
                  </a:lnTo>
                  <a:lnTo>
                    <a:pt x="88" y="116"/>
                  </a:lnTo>
                  <a:lnTo>
                    <a:pt x="0" y="85"/>
                  </a:lnTo>
                  <a:lnTo>
                    <a:pt x="16" y="54"/>
                  </a:lnTo>
                  <a:lnTo>
                    <a:pt x="30" y="26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12"/>
            <p:cNvSpPr>
              <a:spLocks/>
            </p:cNvSpPr>
            <p:nvPr/>
          </p:nvSpPr>
          <p:spPr bwMode="auto">
            <a:xfrm>
              <a:off x="3063876" y="1644650"/>
              <a:ext cx="1968500" cy="442913"/>
            </a:xfrm>
            <a:custGeom>
              <a:avLst/>
              <a:gdLst>
                <a:gd name="T0" fmla="*/ 1197 w 1240"/>
                <a:gd name="T1" fmla="*/ 0 h 279"/>
                <a:gd name="T2" fmla="*/ 1206 w 1240"/>
                <a:gd name="T3" fmla="*/ 20 h 279"/>
                <a:gd name="T4" fmla="*/ 1217 w 1240"/>
                <a:gd name="T5" fmla="*/ 41 h 279"/>
                <a:gd name="T6" fmla="*/ 1228 w 1240"/>
                <a:gd name="T7" fmla="*/ 62 h 279"/>
                <a:gd name="T8" fmla="*/ 1240 w 1240"/>
                <a:gd name="T9" fmla="*/ 86 h 279"/>
                <a:gd name="T10" fmla="*/ 1164 w 1240"/>
                <a:gd name="T11" fmla="*/ 113 h 279"/>
                <a:gd name="T12" fmla="*/ 1089 w 1240"/>
                <a:gd name="T13" fmla="*/ 139 h 279"/>
                <a:gd name="T14" fmla="*/ 1013 w 1240"/>
                <a:gd name="T15" fmla="*/ 164 h 279"/>
                <a:gd name="T16" fmla="*/ 937 w 1240"/>
                <a:gd name="T17" fmla="*/ 189 h 279"/>
                <a:gd name="T18" fmla="*/ 863 w 1240"/>
                <a:gd name="T19" fmla="*/ 213 h 279"/>
                <a:gd name="T20" fmla="*/ 786 w 1240"/>
                <a:gd name="T21" fmla="*/ 234 h 279"/>
                <a:gd name="T22" fmla="*/ 710 w 1240"/>
                <a:gd name="T23" fmla="*/ 252 h 279"/>
                <a:gd name="T24" fmla="*/ 634 w 1240"/>
                <a:gd name="T25" fmla="*/ 266 h 279"/>
                <a:gd name="T26" fmla="*/ 556 w 1240"/>
                <a:gd name="T27" fmla="*/ 276 h 279"/>
                <a:gd name="T28" fmla="*/ 476 w 1240"/>
                <a:gd name="T29" fmla="*/ 279 h 279"/>
                <a:gd name="T30" fmla="*/ 397 w 1240"/>
                <a:gd name="T31" fmla="*/ 278 h 279"/>
                <a:gd name="T32" fmla="*/ 316 w 1240"/>
                <a:gd name="T33" fmla="*/ 270 h 279"/>
                <a:gd name="T34" fmla="*/ 272 w 1240"/>
                <a:gd name="T35" fmla="*/ 261 h 279"/>
                <a:gd name="T36" fmla="*/ 231 w 1240"/>
                <a:gd name="T37" fmla="*/ 249 h 279"/>
                <a:gd name="T38" fmla="*/ 192 w 1240"/>
                <a:gd name="T39" fmla="*/ 234 h 279"/>
                <a:gd name="T40" fmla="*/ 153 w 1240"/>
                <a:gd name="T41" fmla="*/ 213 h 279"/>
                <a:gd name="T42" fmla="*/ 119 w 1240"/>
                <a:gd name="T43" fmla="*/ 189 h 279"/>
                <a:gd name="T44" fmla="*/ 86 w 1240"/>
                <a:gd name="T45" fmla="*/ 162 h 279"/>
                <a:gd name="T46" fmla="*/ 56 w 1240"/>
                <a:gd name="T47" fmla="*/ 129 h 279"/>
                <a:gd name="T48" fmla="*/ 44 w 1240"/>
                <a:gd name="T49" fmla="*/ 110 h 279"/>
                <a:gd name="T50" fmla="*/ 33 w 1240"/>
                <a:gd name="T51" fmla="*/ 89 h 279"/>
                <a:gd name="T52" fmla="*/ 24 w 1240"/>
                <a:gd name="T53" fmla="*/ 63 h 279"/>
                <a:gd name="T54" fmla="*/ 13 w 1240"/>
                <a:gd name="T55" fmla="*/ 36 h 279"/>
                <a:gd name="T56" fmla="*/ 0 w 1240"/>
                <a:gd name="T57" fmla="*/ 5 h 279"/>
                <a:gd name="T58" fmla="*/ 89 w 1240"/>
                <a:gd name="T59" fmla="*/ 39 h 279"/>
                <a:gd name="T60" fmla="*/ 176 w 1240"/>
                <a:gd name="T61" fmla="*/ 66 h 279"/>
                <a:gd name="T62" fmla="*/ 263 w 1240"/>
                <a:gd name="T63" fmla="*/ 84 h 279"/>
                <a:gd name="T64" fmla="*/ 349 w 1240"/>
                <a:gd name="T65" fmla="*/ 97 h 279"/>
                <a:gd name="T66" fmla="*/ 434 w 1240"/>
                <a:gd name="T67" fmla="*/ 103 h 279"/>
                <a:gd name="T68" fmla="*/ 520 w 1240"/>
                <a:gd name="T69" fmla="*/ 103 h 279"/>
                <a:gd name="T70" fmla="*/ 605 w 1240"/>
                <a:gd name="T71" fmla="*/ 99 h 279"/>
                <a:gd name="T72" fmla="*/ 690 w 1240"/>
                <a:gd name="T73" fmla="*/ 92 h 279"/>
                <a:gd name="T74" fmla="*/ 774 w 1240"/>
                <a:gd name="T75" fmla="*/ 80 h 279"/>
                <a:gd name="T76" fmla="*/ 858 w 1240"/>
                <a:gd name="T77" fmla="*/ 67 h 279"/>
                <a:gd name="T78" fmla="*/ 943 w 1240"/>
                <a:gd name="T79" fmla="*/ 51 h 279"/>
                <a:gd name="T80" fmla="*/ 1027 w 1240"/>
                <a:gd name="T81" fmla="*/ 35 h 279"/>
                <a:gd name="T82" fmla="*/ 1111 w 1240"/>
                <a:gd name="T83" fmla="*/ 17 h 279"/>
                <a:gd name="T84" fmla="*/ 1197 w 1240"/>
                <a:gd name="T85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40" h="279">
                  <a:moveTo>
                    <a:pt x="1197" y="0"/>
                  </a:moveTo>
                  <a:lnTo>
                    <a:pt x="1206" y="20"/>
                  </a:lnTo>
                  <a:lnTo>
                    <a:pt x="1217" y="41"/>
                  </a:lnTo>
                  <a:lnTo>
                    <a:pt x="1228" y="62"/>
                  </a:lnTo>
                  <a:lnTo>
                    <a:pt x="1240" y="86"/>
                  </a:lnTo>
                  <a:lnTo>
                    <a:pt x="1164" y="113"/>
                  </a:lnTo>
                  <a:lnTo>
                    <a:pt x="1089" y="139"/>
                  </a:lnTo>
                  <a:lnTo>
                    <a:pt x="1013" y="164"/>
                  </a:lnTo>
                  <a:lnTo>
                    <a:pt x="937" y="189"/>
                  </a:lnTo>
                  <a:lnTo>
                    <a:pt x="863" y="213"/>
                  </a:lnTo>
                  <a:lnTo>
                    <a:pt x="786" y="234"/>
                  </a:lnTo>
                  <a:lnTo>
                    <a:pt x="710" y="252"/>
                  </a:lnTo>
                  <a:lnTo>
                    <a:pt x="634" y="266"/>
                  </a:lnTo>
                  <a:lnTo>
                    <a:pt x="556" y="276"/>
                  </a:lnTo>
                  <a:lnTo>
                    <a:pt x="476" y="279"/>
                  </a:lnTo>
                  <a:lnTo>
                    <a:pt x="397" y="278"/>
                  </a:lnTo>
                  <a:lnTo>
                    <a:pt x="316" y="270"/>
                  </a:lnTo>
                  <a:lnTo>
                    <a:pt x="272" y="261"/>
                  </a:lnTo>
                  <a:lnTo>
                    <a:pt x="231" y="249"/>
                  </a:lnTo>
                  <a:lnTo>
                    <a:pt x="192" y="234"/>
                  </a:lnTo>
                  <a:lnTo>
                    <a:pt x="153" y="213"/>
                  </a:lnTo>
                  <a:lnTo>
                    <a:pt x="119" y="189"/>
                  </a:lnTo>
                  <a:lnTo>
                    <a:pt x="86" y="162"/>
                  </a:lnTo>
                  <a:lnTo>
                    <a:pt x="56" y="129"/>
                  </a:lnTo>
                  <a:lnTo>
                    <a:pt x="44" y="110"/>
                  </a:lnTo>
                  <a:lnTo>
                    <a:pt x="33" y="89"/>
                  </a:lnTo>
                  <a:lnTo>
                    <a:pt x="24" y="63"/>
                  </a:lnTo>
                  <a:lnTo>
                    <a:pt x="13" y="36"/>
                  </a:lnTo>
                  <a:lnTo>
                    <a:pt x="0" y="5"/>
                  </a:lnTo>
                  <a:lnTo>
                    <a:pt x="89" y="39"/>
                  </a:lnTo>
                  <a:lnTo>
                    <a:pt x="176" y="66"/>
                  </a:lnTo>
                  <a:lnTo>
                    <a:pt x="263" y="84"/>
                  </a:lnTo>
                  <a:lnTo>
                    <a:pt x="349" y="97"/>
                  </a:lnTo>
                  <a:lnTo>
                    <a:pt x="434" y="103"/>
                  </a:lnTo>
                  <a:lnTo>
                    <a:pt x="520" y="103"/>
                  </a:lnTo>
                  <a:lnTo>
                    <a:pt x="605" y="99"/>
                  </a:lnTo>
                  <a:lnTo>
                    <a:pt x="690" y="92"/>
                  </a:lnTo>
                  <a:lnTo>
                    <a:pt x="774" y="80"/>
                  </a:lnTo>
                  <a:lnTo>
                    <a:pt x="858" y="67"/>
                  </a:lnTo>
                  <a:lnTo>
                    <a:pt x="943" y="51"/>
                  </a:lnTo>
                  <a:lnTo>
                    <a:pt x="1027" y="35"/>
                  </a:lnTo>
                  <a:lnTo>
                    <a:pt x="1111" y="17"/>
                  </a:lnTo>
                  <a:lnTo>
                    <a:pt x="1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13"/>
            <p:cNvSpPr>
              <a:spLocks/>
            </p:cNvSpPr>
            <p:nvPr/>
          </p:nvSpPr>
          <p:spPr bwMode="auto">
            <a:xfrm>
              <a:off x="6856413" y="2065338"/>
              <a:ext cx="1590675" cy="704850"/>
            </a:xfrm>
            <a:custGeom>
              <a:avLst/>
              <a:gdLst>
                <a:gd name="T0" fmla="*/ 96 w 1002"/>
                <a:gd name="T1" fmla="*/ 0 h 444"/>
                <a:gd name="T2" fmla="*/ 156 w 1002"/>
                <a:gd name="T3" fmla="*/ 35 h 444"/>
                <a:gd name="T4" fmla="*/ 217 w 1002"/>
                <a:gd name="T5" fmla="*/ 68 h 444"/>
                <a:gd name="T6" fmla="*/ 277 w 1002"/>
                <a:gd name="T7" fmla="*/ 102 h 444"/>
                <a:gd name="T8" fmla="*/ 338 w 1002"/>
                <a:gd name="T9" fmla="*/ 133 h 444"/>
                <a:gd name="T10" fmla="*/ 399 w 1002"/>
                <a:gd name="T11" fmla="*/ 165 h 444"/>
                <a:gd name="T12" fmla="*/ 460 w 1002"/>
                <a:gd name="T13" fmla="*/ 193 h 444"/>
                <a:gd name="T14" fmla="*/ 524 w 1002"/>
                <a:gd name="T15" fmla="*/ 219 h 444"/>
                <a:gd name="T16" fmla="*/ 588 w 1002"/>
                <a:gd name="T17" fmla="*/ 241 h 444"/>
                <a:gd name="T18" fmla="*/ 653 w 1002"/>
                <a:gd name="T19" fmla="*/ 261 h 444"/>
                <a:gd name="T20" fmla="*/ 719 w 1002"/>
                <a:gd name="T21" fmla="*/ 276 h 444"/>
                <a:gd name="T22" fmla="*/ 787 w 1002"/>
                <a:gd name="T23" fmla="*/ 286 h 444"/>
                <a:gd name="T24" fmla="*/ 857 w 1002"/>
                <a:gd name="T25" fmla="*/ 292 h 444"/>
                <a:gd name="T26" fmla="*/ 927 w 1002"/>
                <a:gd name="T27" fmla="*/ 291 h 444"/>
                <a:gd name="T28" fmla="*/ 1002 w 1002"/>
                <a:gd name="T29" fmla="*/ 285 h 444"/>
                <a:gd name="T30" fmla="*/ 986 w 1002"/>
                <a:gd name="T31" fmla="*/ 315 h 444"/>
                <a:gd name="T32" fmla="*/ 968 w 1002"/>
                <a:gd name="T33" fmla="*/ 341 h 444"/>
                <a:gd name="T34" fmla="*/ 949 w 1002"/>
                <a:gd name="T35" fmla="*/ 363 h 444"/>
                <a:gd name="T36" fmla="*/ 926 w 1002"/>
                <a:gd name="T37" fmla="*/ 381 h 444"/>
                <a:gd name="T38" fmla="*/ 902 w 1002"/>
                <a:gd name="T39" fmla="*/ 395 h 444"/>
                <a:gd name="T40" fmla="*/ 876 w 1002"/>
                <a:gd name="T41" fmla="*/ 407 h 444"/>
                <a:gd name="T42" fmla="*/ 849 w 1002"/>
                <a:gd name="T43" fmla="*/ 417 h 444"/>
                <a:gd name="T44" fmla="*/ 821 w 1002"/>
                <a:gd name="T45" fmla="*/ 424 h 444"/>
                <a:gd name="T46" fmla="*/ 764 w 1002"/>
                <a:gd name="T47" fmla="*/ 435 h 444"/>
                <a:gd name="T48" fmla="*/ 707 w 1002"/>
                <a:gd name="T49" fmla="*/ 442 h 444"/>
                <a:gd name="T50" fmla="*/ 650 w 1002"/>
                <a:gd name="T51" fmla="*/ 444 h 444"/>
                <a:gd name="T52" fmla="*/ 594 w 1002"/>
                <a:gd name="T53" fmla="*/ 442 h 444"/>
                <a:gd name="T54" fmla="*/ 539 w 1002"/>
                <a:gd name="T55" fmla="*/ 435 h 444"/>
                <a:gd name="T56" fmla="*/ 483 w 1002"/>
                <a:gd name="T57" fmla="*/ 423 h 444"/>
                <a:gd name="T58" fmla="*/ 429 w 1002"/>
                <a:gd name="T59" fmla="*/ 403 h 444"/>
                <a:gd name="T60" fmla="*/ 378 w 1002"/>
                <a:gd name="T61" fmla="*/ 378 h 444"/>
                <a:gd name="T62" fmla="*/ 283 w 1002"/>
                <a:gd name="T63" fmla="*/ 324 h 444"/>
                <a:gd name="T64" fmla="*/ 189 w 1002"/>
                <a:gd name="T65" fmla="*/ 267 h 444"/>
                <a:gd name="T66" fmla="*/ 96 w 1002"/>
                <a:gd name="T67" fmla="*/ 207 h 444"/>
                <a:gd name="T68" fmla="*/ 0 w 1002"/>
                <a:gd name="T69" fmla="*/ 145 h 444"/>
                <a:gd name="T70" fmla="*/ 22 w 1002"/>
                <a:gd name="T71" fmla="*/ 113 h 444"/>
                <a:gd name="T72" fmla="*/ 42 w 1002"/>
                <a:gd name="T73" fmla="*/ 83 h 444"/>
                <a:gd name="T74" fmla="*/ 60 w 1002"/>
                <a:gd name="T75" fmla="*/ 54 h 444"/>
                <a:gd name="T76" fmla="*/ 78 w 1002"/>
                <a:gd name="T77" fmla="*/ 28 h 444"/>
                <a:gd name="T78" fmla="*/ 96 w 1002"/>
                <a:gd name="T79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02" h="444">
                  <a:moveTo>
                    <a:pt x="96" y="0"/>
                  </a:moveTo>
                  <a:lnTo>
                    <a:pt x="156" y="35"/>
                  </a:lnTo>
                  <a:lnTo>
                    <a:pt x="217" y="68"/>
                  </a:lnTo>
                  <a:lnTo>
                    <a:pt x="277" y="102"/>
                  </a:lnTo>
                  <a:lnTo>
                    <a:pt x="338" y="133"/>
                  </a:lnTo>
                  <a:lnTo>
                    <a:pt x="399" y="165"/>
                  </a:lnTo>
                  <a:lnTo>
                    <a:pt x="460" y="193"/>
                  </a:lnTo>
                  <a:lnTo>
                    <a:pt x="524" y="219"/>
                  </a:lnTo>
                  <a:lnTo>
                    <a:pt x="588" y="241"/>
                  </a:lnTo>
                  <a:lnTo>
                    <a:pt x="653" y="261"/>
                  </a:lnTo>
                  <a:lnTo>
                    <a:pt x="719" y="276"/>
                  </a:lnTo>
                  <a:lnTo>
                    <a:pt x="787" y="286"/>
                  </a:lnTo>
                  <a:lnTo>
                    <a:pt x="857" y="292"/>
                  </a:lnTo>
                  <a:lnTo>
                    <a:pt x="927" y="291"/>
                  </a:lnTo>
                  <a:lnTo>
                    <a:pt x="1002" y="285"/>
                  </a:lnTo>
                  <a:lnTo>
                    <a:pt x="986" y="315"/>
                  </a:lnTo>
                  <a:lnTo>
                    <a:pt x="968" y="341"/>
                  </a:lnTo>
                  <a:lnTo>
                    <a:pt x="949" y="363"/>
                  </a:lnTo>
                  <a:lnTo>
                    <a:pt x="926" y="381"/>
                  </a:lnTo>
                  <a:lnTo>
                    <a:pt x="902" y="395"/>
                  </a:lnTo>
                  <a:lnTo>
                    <a:pt x="876" y="407"/>
                  </a:lnTo>
                  <a:lnTo>
                    <a:pt x="849" y="417"/>
                  </a:lnTo>
                  <a:lnTo>
                    <a:pt x="821" y="424"/>
                  </a:lnTo>
                  <a:lnTo>
                    <a:pt x="764" y="435"/>
                  </a:lnTo>
                  <a:lnTo>
                    <a:pt x="707" y="442"/>
                  </a:lnTo>
                  <a:lnTo>
                    <a:pt x="650" y="444"/>
                  </a:lnTo>
                  <a:lnTo>
                    <a:pt x="594" y="442"/>
                  </a:lnTo>
                  <a:lnTo>
                    <a:pt x="539" y="435"/>
                  </a:lnTo>
                  <a:lnTo>
                    <a:pt x="483" y="423"/>
                  </a:lnTo>
                  <a:lnTo>
                    <a:pt x="429" y="403"/>
                  </a:lnTo>
                  <a:lnTo>
                    <a:pt x="378" y="378"/>
                  </a:lnTo>
                  <a:lnTo>
                    <a:pt x="283" y="324"/>
                  </a:lnTo>
                  <a:lnTo>
                    <a:pt x="189" y="267"/>
                  </a:lnTo>
                  <a:lnTo>
                    <a:pt x="96" y="207"/>
                  </a:lnTo>
                  <a:lnTo>
                    <a:pt x="0" y="145"/>
                  </a:lnTo>
                  <a:lnTo>
                    <a:pt x="22" y="113"/>
                  </a:lnTo>
                  <a:lnTo>
                    <a:pt x="42" y="83"/>
                  </a:lnTo>
                  <a:lnTo>
                    <a:pt x="60" y="54"/>
                  </a:lnTo>
                  <a:lnTo>
                    <a:pt x="78" y="28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3749676" y="2063750"/>
              <a:ext cx="1577975" cy="703263"/>
            </a:xfrm>
            <a:custGeom>
              <a:avLst/>
              <a:gdLst>
                <a:gd name="T0" fmla="*/ 907 w 994"/>
                <a:gd name="T1" fmla="*/ 0 h 443"/>
                <a:gd name="T2" fmla="*/ 936 w 994"/>
                <a:gd name="T3" fmla="*/ 44 h 443"/>
                <a:gd name="T4" fmla="*/ 965 w 994"/>
                <a:gd name="T5" fmla="*/ 87 h 443"/>
                <a:gd name="T6" fmla="*/ 994 w 994"/>
                <a:gd name="T7" fmla="*/ 133 h 443"/>
                <a:gd name="T8" fmla="*/ 947 w 994"/>
                <a:gd name="T9" fmla="*/ 173 h 443"/>
                <a:gd name="T10" fmla="*/ 900 w 994"/>
                <a:gd name="T11" fmla="*/ 211 h 443"/>
                <a:gd name="T12" fmla="*/ 852 w 994"/>
                <a:gd name="T13" fmla="*/ 247 h 443"/>
                <a:gd name="T14" fmla="*/ 803 w 994"/>
                <a:gd name="T15" fmla="*/ 282 h 443"/>
                <a:gd name="T16" fmla="*/ 754 w 994"/>
                <a:gd name="T17" fmla="*/ 314 h 443"/>
                <a:gd name="T18" fmla="*/ 705 w 994"/>
                <a:gd name="T19" fmla="*/ 344 h 443"/>
                <a:gd name="T20" fmla="*/ 653 w 994"/>
                <a:gd name="T21" fmla="*/ 371 h 443"/>
                <a:gd name="T22" fmla="*/ 600 w 994"/>
                <a:gd name="T23" fmla="*/ 394 h 443"/>
                <a:gd name="T24" fmla="*/ 547 w 994"/>
                <a:gd name="T25" fmla="*/ 413 h 443"/>
                <a:gd name="T26" fmla="*/ 492 w 994"/>
                <a:gd name="T27" fmla="*/ 427 h 443"/>
                <a:gd name="T28" fmla="*/ 434 w 994"/>
                <a:gd name="T29" fmla="*/ 438 h 443"/>
                <a:gd name="T30" fmla="*/ 376 w 994"/>
                <a:gd name="T31" fmla="*/ 443 h 443"/>
                <a:gd name="T32" fmla="*/ 316 w 994"/>
                <a:gd name="T33" fmla="*/ 443 h 443"/>
                <a:gd name="T34" fmla="*/ 252 w 994"/>
                <a:gd name="T35" fmla="*/ 438 h 443"/>
                <a:gd name="T36" fmla="*/ 187 w 994"/>
                <a:gd name="T37" fmla="*/ 426 h 443"/>
                <a:gd name="T38" fmla="*/ 158 w 994"/>
                <a:gd name="T39" fmla="*/ 419 h 443"/>
                <a:gd name="T40" fmla="*/ 131 w 994"/>
                <a:gd name="T41" fmla="*/ 409 h 443"/>
                <a:gd name="T42" fmla="*/ 106 w 994"/>
                <a:gd name="T43" fmla="*/ 398 h 443"/>
                <a:gd name="T44" fmla="*/ 80 w 994"/>
                <a:gd name="T45" fmla="*/ 384 h 443"/>
                <a:gd name="T46" fmla="*/ 58 w 994"/>
                <a:gd name="T47" fmla="*/ 366 h 443"/>
                <a:gd name="T48" fmla="*/ 36 w 994"/>
                <a:gd name="T49" fmla="*/ 344 h 443"/>
                <a:gd name="T50" fmla="*/ 17 w 994"/>
                <a:gd name="T51" fmla="*/ 318 h 443"/>
                <a:gd name="T52" fmla="*/ 0 w 994"/>
                <a:gd name="T53" fmla="*/ 287 h 443"/>
                <a:gd name="T54" fmla="*/ 74 w 994"/>
                <a:gd name="T55" fmla="*/ 293 h 443"/>
                <a:gd name="T56" fmla="*/ 145 w 994"/>
                <a:gd name="T57" fmla="*/ 293 h 443"/>
                <a:gd name="T58" fmla="*/ 215 w 994"/>
                <a:gd name="T59" fmla="*/ 288 h 443"/>
                <a:gd name="T60" fmla="*/ 282 w 994"/>
                <a:gd name="T61" fmla="*/ 277 h 443"/>
                <a:gd name="T62" fmla="*/ 349 w 994"/>
                <a:gd name="T63" fmla="*/ 263 h 443"/>
                <a:gd name="T64" fmla="*/ 414 w 994"/>
                <a:gd name="T65" fmla="*/ 244 h 443"/>
                <a:gd name="T66" fmla="*/ 478 w 994"/>
                <a:gd name="T67" fmla="*/ 221 h 443"/>
                <a:gd name="T68" fmla="*/ 540 w 994"/>
                <a:gd name="T69" fmla="*/ 196 h 443"/>
                <a:gd name="T70" fmla="*/ 603 w 994"/>
                <a:gd name="T71" fmla="*/ 167 h 443"/>
                <a:gd name="T72" fmla="*/ 664 w 994"/>
                <a:gd name="T73" fmla="*/ 137 h 443"/>
                <a:gd name="T74" fmla="*/ 725 w 994"/>
                <a:gd name="T75" fmla="*/ 103 h 443"/>
                <a:gd name="T76" fmla="*/ 786 w 994"/>
                <a:gd name="T77" fmla="*/ 69 h 443"/>
                <a:gd name="T78" fmla="*/ 846 w 994"/>
                <a:gd name="T79" fmla="*/ 35 h 443"/>
                <a:gd name="T80" fmla="*/ 907 w 994"/>
                <a:gd name="T81" fmla="*/ 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94" h="443">
                  <a:moveTo>
                    <a:pt x="907" y="0"/>
                  </a:moveTo>
                  <a:lnTo>
                    <a:pt x="936" y="44"/>
                  </a:lnTo>
                  <a:lnTo>
                    <a:pt x="965" y="87"/>
                  </a:lnTo>
                  <a:lnTo>
                    <a:pt x="994" y="133"/>
                  </a:lnTo>
                  <a:lnTo>
                    <a:pt x="947" y="173"/>
                  </a:lnTo>
                  <a:lnTo>
                    <a:pt x="900" y="211"/>
                  </a:lnTo>
                  <a:lnTo>
                    <a:pt x="852" y="247"/>
                  </a:lnTo>
                  <a:lnTo>
                    <a:pt x="803" y="282"/>
                  </a:lnTo>
                  <a:lnTo>
                    <a:pt x="754" y="314"/>
                  </a:lnTo>
                  <a:lnTo>
                    <a:pt x="705" y="344"/>
                  </a:lnTo>
                  <a:lnTo>
                    <a:pt x="653" y="371"/>
                  </a:lnTo>
                  <a:lnTo>
                    <a:pt x="600" y="394"/>
                  </a:lnTo>
                  <a:lnTo>
                    <a:pt x="547" y="413"/>
                  </a:lnTo>
                  <a:lnTo>
                    <a:pt x="492" y="427"/>
                  </a:lnTo>
                  <a:lnTo>
                    <a:pt x="434" y="438"/>
                  </a:lnTo>
                  <a:lnTo>
                    <a:pt x="376" y="443"/>
                  </a:lnTo>
                  <a:lnTo>
                    <a:pt x="316" y="443"/>
                  </a:lnTo>
                  <a:lnTo>
                    <a:pt x="252" y="438"/>
                  </a:lnTo>
                  <a:lnTo>
                    <a:pt x="187" y="426"/>
                  </a:lnTo>
                  <a:lnTo>
                    <a:pt x="158" y="419"/>
                  </a:lnTo>
                  <a:lnTo>
                    <a:pt x="131" y="409"/>
                  </a:lnTo>
                  <a:lnTo>
                    <a:pt x="106" y="398"/>
                  </a:lnTo>
                  <a:lnTo>
                    <a:pt x="80" y="384"/>
                  </a:lnTo>
                  <a:lnTo>
                    <a:pt x="58" y="366"/>
                  </a:lnTo>
                  <a:lnTo>
                    <a:pt x="36" y="344"/>
                  </a:lnTo>
                  <a:lnTo>
                    <a:pt x="17" y="318"/>
                  </a:lnTo>
                  <a:lnTo>
                    <a:pt x="0" y="287"/>
                  </a:lnTo>
                  <a:lnTo>
                    <a:pt x="74" y="293"/>
                  </a:lnTo>
                  <a:lnTo>
                    <a:pt x="145" y="293"/>
                  </a:lnTo>
                  <a:lnTo>
                    <a:pt x="215" y="288"/>
                  </a:lnTo>
                  <a:lnTo>
                    <a:pt x="282" y="277"/>
                  </a:lnTo>
                  <a:lnTo>
                    <a:pt x="349" y="263"/>
                  </a:lnTo>
                  <a:lnTo>
                    <a:pt x="414" y="244"/>
                  </a:lnTo>
                  <a:lnTo>
                    <a:pt x="478" y="221"/>
                  </a:lnTo>
                  <a:lnTo>
                    <a:pt x="540" y="196"/>
                  </a:lnTo>
                  <a:lnTo>
                    <a:pt x="603" y="167"/>
                  </a:lnTo>
                  <a:lnTo>
                    <a:pt x="664" y="137"/>
                  </a:lnTo>
                  <a:lnTo>
                    <a:pt x="725" y="103"/>
                  </a:lnTo>
                  <a:lnTo>
                    <a:pt x="786" y="69"/>
                  </a:lnTo>
                  <a:lnTo>
                    <a:pt x="846" y="35"/>
                  </a:lnTo>
                  <a:lnTo>
                    <a:pt x="9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4237038" y="2324100"/>
              <a:ext cx="1314450" cy="681038"/>
            </a:xfrm>
            <a:custGeom>
              <a:avLst/>
              <a:gdLst>
                <a:gd name="T0" fmla="*/ 712 w 828"/>
                <a:gd name="T1" fmla="*/ 0 h 429"/>
                <a:gd name="T2" fmla="*/ 828 w 828"/>
                <a:gd name="T3" fmla="*/ 123 h 429"/>
                <a:gd name="T4" fmla="*/ 792 w 828"/>
                <a:gd name="T5" fmla="*/ 164 h 429"/>
                <a:gd name="T6" fmla="*/ 754 w 828"/>
                <a:gd name="T7" fmla="*/ 202 h 429"/>
                <a:gd name="T8" fmla="*/ 713 w 828"/>
                <a:gd name="T9" fmla="*/ 238 h 429"/>
                <a:gd name="T10" fmla="*/ 670 w 828"/>
                <a:gd name="T11" fmla="*/ 270 h 429"/>
                <a:gd name="T12" fmla="*/ 624 w 828"/>
                <a:gd name="T13" fmla="*/ 300 h 429"/>
                <a:gd name="T14" fmla="*/ 576 w 828"/>
                <a:gd name="T15" fmla="*/ 328 h 429"/>
                <a:gd name="T16" fmla="*/ 528 w 828"/>
                <a:gd name="T17" fmla="*/ 352 h 429"/>
                <a:gd name="T18" fmla="*/ 480 w 828"/>
                <a:gd name="T19" fmla="*/ 374 h 429"/>
                <a:gd name="T20" fmla="*/ 431 w 828"/>
                <a:gd name="T21" fmla="*/ 392 h 429"/>
                <a:gd name="T22" fmla="*/ 382 w 828"/>
                <a:gd name="T23" fmla="*/ 406 h 429"/>
                <a:gd name="T24" fmla="*/ 334 w 828"/>
                <a:gd name="T25" fmla="*/ 417 h 429"/>
                <a:gd name="T26" fmla="*/ 287 w 828"/>
                <a:gd name="T27" fmla="*/ 424 h 429"/>
                <a:gd name="T28" fmla="*/ 242 w 828"/>
                <a:gd name="T29" fmla="*/ 429 h 429"/>
                <a:gd name="T30" fmla="*/ 197 w 828"/>
                <a:gd name="T31" fmla="*/ 429 h 429"/>
                <a:gd name="T32" fmla="*/ 156 w 828"/>
                <a:gd name="T33" fmla="*/ 426 h 429"/>
                <a:gd name="T34" fmla="*/ 118 w 828"/>
                <a:gd name="T35" fmla="*/ 419 h 429"/>
                <a:gd name="T36" fmla="*/ 82 w 828"/>
                <a:gd name="T37" fmla="*/ 407 h 429"/>
                <a:gd name="T38" fmla="*/ 51 w 828"/>
                <a:gd name="T39" fmla="*/ 393 h 429"/>
                <a:gd name="T40" fmla="*/ 23 w 828"/>
                <a:gd name="T41" fmla="*/ 374 h 429"/>
                <a:gd name="T42" fmla="*/ 0 w 828"/>
                <a:gd name="T43" fmla="*/ 350 h 429"/>
                <a:gd name="T44" fmla="*/ 63 w 828"/>
                <a:gd name="T45" fmla="*/ 332 h 429"/>
                <a:gd name="T46" fmla="*/ 125 w 828"/>
                <a:gd name="T47" fmla="*/ 315 h 429"/>
                <a:gd name="T48" fmla="*/ 189 w 828"/>
                <a:gd name="T49" fmla="*/ 297 h 429"/>
                <a:gd name="T50" fmla="*/ 252 w 828"/>
                <a:gd name="T51" fmla="*/ 278 h 429"/>
                <a:gd name="T52" fmla="*/ 315 w 828"/>
                <a:gd name="T53" fmla="*/ 255 h 429"/>
                <a:gd name="T54" fmla="*/ 376 w 828"/>
                <a:gd name="T55" fmla="*/ 228 h 429"/>
                <a:gd name="T56" fmla="*/ 434 w 828"/>
                <a:gd name="T57" fmla="*/ 197 h 429"/>
                <a:gd name="T58" fmla="*/ 490 w 828"/>
                <a:gd name="T59" fmla="*/ 161 h 429"/>
                <a:gd name="T60" fmla="*/ 545 w 828"/>
                <a:gd name="T61" fmla="*/ 123 h 429"/>
                <a:gd name="T62" fmla="*/ 600 w 828"/>
                <a:gd name="T63" fmla="*/ 82 h 429"/>
                <a:gd name="T64" fmla="*/ 656 w 828"/>
                <a:gd name="T65" fmla="*/ 41 h 429"/>
                <a:gd name="T66" fmla="*/ 712 w 828"/>
                <a:gd name="T67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8" h="429">
                  <a:moveTo>
                    <a:pt x="712" y="0"/>
                  </a:moveTo>
                  <a:lnTo>
                    <a:pt x="828" y="123"/>
                  </a:lnTo>
                  <a:lnTo>
                    <a:pt x="792" y="164"/>
                  </a:lnTo>
                  <a:lnTo>
                    <a:pt x="754" y="202"/>
                  </a:lnTo>
                  <a:lnTo>
                    <a:pt x="713" y="238"/>
                  </a:lnTo>
                  <a:lnTo>
                    <a:pt x="670" y="270"/>
                  </a:lnTo>
                  <a:lnTo>
                    <a:pt x="624" y="300"/>
                  </a:lnTo>
                  <a:lnTo>
                    <a:pt x="576" y="328"/>
                  </a:lnTo>
                  <a:lnTo>
                    <a:pt x="528" y="352"/>
                  </a:lnTo>
                  <a:lnTo>
                    <a:pt x="480" y="374"/>
                  </a:lnTo>
                  <a:lnTo>
                    <a:pt x="431" y="392"/>
                  </a:lnTo>
                  <a:lnTo>
                    <a:pt x="382" y="406"/>
                  </a:lnTo>
                  <a:lnTo>
                    <a:pt x="334" y="417"/>
                  </a:lnTo>
                  <a:lnTo>
                    <a:pt x="287" y="424"/>
                  </a:lnTo>
                  <a:lnTo>
                    <a:pt x="242" y="429"/>
                  </a:lnTo>
                  <a:lnTo>
                    <a:pt x="197" y="429"/>
                  </a:lnTo>
                  <a:lnTo>
                    <a:pt x="156" y="426"/>
                  </a:lnTo>
                  <a:lnTo>
                    <a:pt x="118" y="419"/>
                  </a:lnTo>
                  <a:lnTo>
                    <a:pt x="82" y="407"/>
                  </a:lnTo>
                  <a:lnTo>
                    <a:pt x="51" y="393"/>
                  </a:lnTo>
                  <a:lnTo>
                    <a:pt x="23" y="374"/>
                  </a:lnTo>
                  <a:lnTo>
                    <a:pt x="0" y="350"/>
                  </a:lnTo>
                  <a:lnTo>
                    <a:pt x="63" y="332"/>
                  </a:lnTo>
                  <a:lnTo>
                    <a:pt x="125" y="315"/>
                  </a:lnTo>
                  <a:lnTo>
                    <a:pt x="189" y="297"/>
                  </a:lnTo>
                  <a:lnTo>
                    <a:pt x="252" y="278"/>
                  </a:lnTo>
                  <a:lnTo>
                    <a:pt x="315" y="255"/>
                  </a:lnTo>
                  <a:lnTo>
                    <a:pt x="376" y="228"/>
                  </a:lnTo>
                  <a:lnTo>
                    <a:pt x="434" y="197"/>
                  </a:lnTo>
                  <a:lnTo>
                    <a:pt x="490" y="161"/>
                  </a:lnTo>
                  <a:lnTo>
                    <a:pt x="545" y="123"/>
                  </a:lnTo>
                  <a:lnTo>
                    <a:pt x="600" y="82"/>
                  </a:lnTo>
                  <a:lnTo>
                    <a:pt x="656" y="41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16"/>
            <p:cNvSpPr>
              <a:spLocks/>
            </p:cNvSpPr>
            <p:nvPr/>
          </p:nvSpPr>
          <p:spPr bwMode="auto">
            <a:xfrm>
              <a:off x="6646863" y="2312988"/>
              <a:ext cx="1344613" cy="673100"/>
            </a:xfrm>
            <a:custGeom>
              <a:avLst/>
              <a:gdLst>
                <a:gd name="T0" fmla="*/ 123 w 847"/>
                <a:gd name="T1" fmla="*/ 0 h 424"/>
                <a:gd name="T2" fmla="*/ 172 w 847"/>
                <a:gd name="T3" fmla="*/ 41 h 424"/>
                <a:gd name="T4" fmla="*/ 222 w 847"/>
                <a:gd name="T5" fmla="*/ 82 h 424"/>
                <a:gd name="T6" fmla="*/ 271 w 847"/>
                <a:gd name="T7" fmla="*/ 120 h 424"/>
                <a:gd name="T8" fmla="*/ 321 w 847"/>
                <a:gd name="T9" fmla="*/ 157 h 424"/>
                <a:gd name="T10" fmla="*/ 372 w 847"/>
                <a:gd name="T11" fmla="*/ 192 h 424"/>
                <a:gd name="T12" fmla="*/ 424 w 847"/>
                <a:gd name="T13" fmla="*/ 225 h 424"/>
                <a:gd name="T14" fmla="*/ 477 w 847"/>
                <a:gd name="T15" fmla="*/ 253 h 424"/>
                <a:gd name="T16" fmla="*/ 532 w 847"/>
                <a:gd name="T17" fmla="*/ 279 h 424"/>
                <a:gd name="T18" fmla="*/ 590 w 847"/>
                <a:gd name="T19" fmla="*/ 299 h 424"/>
                <a:gd name="T20" fmla="*/ 649 w 847"/>
                <a:gd name="T21" fmla="*/ 316 h 424"/>
                <a:gd name="T22" fmla="*/ 710 w 847"/>
                <a:gd name="T23" fmla="*/ 327 h 424"/>
                <a:gd name="T24" fmla="*/ 774 w 847"/>
                <a:gd name="T25" fmla="*/ 333 h 424"/>
                <a:gd name="T26" fmla="*/ 841 w 847"/>
                <a:gd name="T27" fmla="*/ 333 h 424"/>
                <a:gd name="T28" fmla="*/ 847 w 847"/>
                <a:gd name="T29" fmla="*/ 357 h 424"/>
                <a:gd name="T30" fmla="*/ 816 w 847"/>
                <a:gd name="T31" fmla="*/ 371 h 424"/>
                <a:gd name="T32" fmla="*/ 786 w 847"/>
                <a:gd name="T33" fmla="*/ 387 h 424"/>
                <a:gd name="T34" fmla="*/ 755 w 847"/>
                <a:gd name="T35" fmla="*/ 400 h 424"/>
                <a:gd name="T36" fmla="*/ 722 w 847"/>
                <a:gd name="T37" fmla="*/ 409 h 424"/>
                <a:gd name="T38" fmla="*/ 650 w 847"/>
                <a:gd name="T39" fmla="*/ 419 h 424"/>
                <a:gd name="T40" fmla="*/ 580 w 847"/>
                <a:gd name="T41" fmla="*/ 424 h 424"/>
                <a:gd name="T42" fmla="*/ 513 w 847"/>
                <a:gd name="T43" fmla="*/ 421 h 424"/>
                <a:gd name="T44" fmla="*/ 447 w 847"/>
                <a:gd name="T45" fmla="*/ 413 h 424"/>
                <a:gd name="T46" fmla="*/ 384 w 847"/>
                <a:gd name="T47" fmla="*/ 399 h 424"/>
                <a:gd name="T48" fmla="*/ 322 w 847"/>
                <a:gd name="T49" fmla="*/ 378 h 424"/>
                <a:gd name="T50" fmla="*/ 264 w 847"/>
                <a:gd name="T51" fmla="*/ 352 h 424"/>
                <a:gd name="T52" fmla="*/ 207 w 847"/>
                <a:gd name="T53" fmla="*/ 319 h 424"/>
                <a:gd name="T54" fmla="*/ 152 w 847"/>
                <a:gd name="T55" fmla="*/ 281 h 424"/>
                <a:gd name="T56" fmla="*/ 99 w 847"/>
                <a:gd name="T57" fmla="*/ 237 h 424"/>
                <a:gd name="T58" fmla="*/ 48 w 847"/>
                <a:gd name="T59" fmla="*/ 187 h 424"/>
                <a:gd name="T60" fmla="*/ 0 w 847"/>
                <a:gd name="T61" fmla="*/ 132 h 424"/>
                <a:gd name="T62" fmla="*/ 39 w 847"/>
                <a:gd name="T63" fmla="*/ 90 h 424"/>
                <a:gd name="T64" fmla="*/ 80 w 847"/>
                <a:gd name="T65" fmla="*/ 46 h 424"/>
                <a:gd name="T66" fmla="*/ 123 w 847"/>
                <a:gd name="T67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7" h="424">
                  <a:moveTo>
                    <a:pt x="123" y="0"/>
                  </a:moveTo>
                  <a:lnTo>
                    <a:pt x="172" y="41"/>
                  </a:lnTo>
                  <a:lnTo>
                    <a:pt x="222" y="82"/>
                  </a:lnTo>
                  <a:lnTo>
                    <a:pt x="271" y="120"/>
                  </a:lnTo>
                  <a:lnTo>
                    <a:pt x="321" y="157"/>
                  </a:lnTo>
                  <a:lnTo>
                    <a:pt x="372" y="192"/>
                  </a:lnTo>
                  <a:lnTo>
                    <a:pt x="424" y="225"/>
                  </a:lnTo>
                  <a:lnTo>
                    <a:pt x="477" y="253"/>
                  </a:lnTo>
                  <a:lnTo>
                    <a:pt x="532" y="279"/>
                  </a:lnTo>
                  <a:lnTo>
                    <a:pt x="590" y="299"/>
                  </a:lnTo>
                  <a:lnTo>
                    <a:pt x="649" y="316"/>
                  </a:lnTo>
                  <a:lnTo>
                    <a:pt x="710" y="327"/>
                  </a:lnTo>
                  <a:lnTo>
                    <a:pt x="774" y="333"/>
                  </a:lnTo>
                  <a:lnTo>
                    <a:pt x="841" y="333"/>
                  </a:lnTo>
                  <a:lnTo>
                    <a:pt x="847" y="357"/>
                  </a:lnTo>
                  <a:lnTo>
                    <a:pt x="816" y="371"/>
                  </a:lnTo>
                  <a:lnTo>
                    <a:pt x="786" y="387"/>
                  </a:lnTo>
                  <a:lnTo>
                    <a:pt x="755" y="400"/>
                  </a:lnTo>
                  <a:lnTo>
                    <a:pt x="722" y="409"/>
                  </a:lnTo>
                  <a:lnTo>
                    <a:pt x="650" y="419"/>
                  </a:lnTo>
                  <a:lnTo>
                    <a:pt x="580" y="424"/>
                  </a:lnTo>
                  <a:lnTo>
                    <a:pt x="513" y="421"/>
                  </a:lnTo>
                  <a:lnTo>
                    <a:pt x="447" y="413"/>
                  </a:lnTo>
                  <a:lnTo>
                    <a:pt x="384" y="399"/>
                  </a:lnTo>
                  <a:lnTo>
                    <a:pt x="322" y="378"/>
                  </a:lnTo>
                  <a:lnTo>
                    <a:pt x="264" y="352"/>
                  </a:lnTo>
                  <a:lnTo>
                    <a:pt x="207" y="319"/>
                  </a:lnTo>
                  <a:lnTo>
                    <a:pt x="152" y="281"/>
                  </a:lnTo>
                  <a:lnTo>
                    <a:pt x="99" y="237"/>
                  </a:lnTo>
                  <a:lnTo>
                    <a:pt x="48" y="187"/>
                  </a:lnTo>
                  <a:lnTo>
                    <a:pt x="0" y="132"/>
                  </a:lnTo>
                  <a:lnTo>
                    <a:pt x="39" y="90"/>
                  </a:lnTo>
                  <a:lnTo>
                    <a:pt x="80" y="46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17"/>
            <p:cNvSpPr>
              <a:spLocks/>
            </p:cNvSpPr>
            <p:nvPr/>
          </p:nvSpPr>
          <p:spPr bwMode="auto">
            <a:xfrm>
              <a:off x="6403976" y="2551113"/>
              <a:ext cx="882650" cy="536575"/>
            </a:xfrm>
            <a:custGeom>
              <a:avLst/>
              <a:gdLst>
                <a:gd name="T0" fmla="*/ 127 w 556"/>
                <a:gd name="T1" fmla="*/ 0 h 338"/>
                <a:gd name="T2" fmla="*/ 166 w 556"/>
                <a:gd name="T3" fmla="*/ 45 h 338"/>
                <a:gd name="T4" fmla="*/ 207 w 556"/>
                <a:gd name="T5" fmla="*/ 87 h 338"/>
                <a:gd name="T6" fmla="*/ 249 w 556"/>
                <a:gd name="T7" fmla="*/ 126 h 338"/>
                <a:gd name="T8" fmla="*/ 292 w 556"/>
                <a:gd name="T9" fmla="*/ 163 h 338"/>
                <a:gd name="T10" fmla="*/ 339 w 556"/>
                <a:gd name="T11" fmla="*/ 198 h 338"/>
                <a:gd name="T12" fmla="*/ 388 w 556"/>
                <a:gd name="T13" fmla="*/ 228 h 338"/>
                <a:gd name="T14" fmla="*/ 439 w 556"/>
                <a:gd name="T15" fmla="*/ 256 h 338"/>
                <a:gd name="T16" fmla="*/ 496 w 556"/>
                <a:gd name="T17" fmla="*/ 280 h 338"/>
                <a:gd name="T18" fmla="*/ 556 w 556"/>
                <a:gd name="T19" fmla="*/ 299 h 338"/>
                <a:gd name="T20" fmla="*/ 513 w 556"/>
                <a:gd name="T21" fmla="*/ 318 h 338"/>
                <a:gd name="T22" fmla="*/ 467 w 556"/>
                <a:gd name="T23" fmla="*/ 332 h 338"/>
                <a:gd name="T24" fmla="*/ 421 w 556"/>
                <a:gd name="T25" fmla="*/ 338 h 338"/>
                <a:gd name="T26" fmla="*/ 375 w 556"/>
                <a:gd name="T27" fmla="*/ 338 h 338"/>
                <a:gd name="T28" fmla="*/ 327 w 556"/>
                <a:gd name="T29" fmla="*/ 330 h 338"/>
                <a:gd name="T30" fmla="*/ 281 w 556"/>
                <a:gd name="T31" fmla="*/ 318 h 338"/>
                <a:gd name="T32" fmla="*/ 234 w 556"/>
                <a:gd name="T33" fmla="*/ 299 h 338"/>
                <a:gd name="T34" fmla="*/ 190 w 556"/>
                <a:gd name="T35" fmla="*/ 275 h 338"/>
                <a:gd name="T36" fmla="*/ 147 w 556"/>
                <a:gd name="T37" fmla="*/ 246 h 338"/>
                <a:gd name="T38" fmla="*/ 106 w 556"/>
                <a:gd name="T39" fmla="*/ 211 h 338"/>
                <a:gd name="T40" fmla="*/ 67 w 556"/>
                <a:gd name="T41" fmla="*/ 172 h 338"/>
                <a:gd name="T42" fmla="*/ 31 w 556"/>
                <a:gd name="T43" fmla="*/ 127 h 338"/>
                <a:gd name="T44" fmla="*/ 0 w 556"/>
                <a:gd name="T45" fmla="*/ 79 h 338"/>
                <a:gd name="T46" fmla="*/ 41 w 556"/>
                <a:gd name="T47" fmla="*/ 53 h 338"/>
                <a:gd name="T48" fmla="*/ 83 w 556"/>
                <a:gd name="T49" fmla="*/ 28 h 338"/>
                <a:gd name="T50" fmla="*/ 127 w 556"/>
                <a:gd name="T51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6" h="338">
                  <a:moveTo>
                    <a:pt x="127" y="0"/>
                  </a:moveTo>
                  <a:lnTo>
                    <a:pt x="166" y="45"/>
                  </a:lnTo>
                  <a:lnTo>
                    <a:pt x="207" y="87"/>
                  </a:lnTo>
                  <a:lnTo>
                    <a:pt x="249" y="126"/>
                  </a:lnTo>
                  <a:lnTo>
                    <a:pt x="292" y="163"/>
                  </a:lnTo>
                  <a:lnTo>
                    <a:pt x="339" y="198"/>
                  </a:lnTo>
                  <a:lnTo>
                    <a:pt x="388" y="228"/>
                  </a:lnTo>
                  <a:lnTo>
                    <a:pt x="439" y="256"/>
                  </a:lnTo>
                  <a:lnTo>
                    <a:pt x="496" y="280"/>
                  </a:lnTo>
                  <a:lnTo>
                    <a:pt x="556" y="299"/>
                  </a:lnTo>
                  <a:lnTo>
                    <a:pt x="513" y="318"/>
                  </a:lnTo>
                  <a:lnTo>
                    <a:pt x="467" y="332"/>
                  </a:lnTo>
                  <a:lnTo>
                    <a:pt x="421" y="338"/>
                  </a:lnTo>
                  <a:lnTo>
                    <a:pt x="375" y="338"/>
                  </a:lnTo>
                  <a:lnTo>
                    <a:pt x="327" y="330"/>
                  </a:lnTo>
                  <a:lnTo>
                    <a:pt x="281" y="318"/>
                  </a:lnTo>
                  <a:lnTo>
                    <a:pt x="234" y="299"/>
                  </a:lnTo>
                  <a:lnTo>
                    <a:pt x="190" y="275"/>
                  </a:lnTo>
                  <a:lnTo>
                    <a:pt x="147" y="246"/>
                  </a:lnTo>
                  <a:lnTo>
                    <a:pt x="106" y="211"/>
                  </a:lnTo>
                  <a:lnTo>
                    <a:pt x="67" y="172"/>
                  </a:lnTo>
                  <a:lnTo>
                    <a:pt x="31" y="127"/>
                  </a:lnTo>
                  <a:lnTo>
                    <a:pt x="0" y="79"/>
                  </a:lnTo>
                  <a:lnTo>
                    <a:pt x="41" y="53"/>
                  </a:lnTo>
                  <a:lnTo>
                    <a:pt x="83" y="28"/>
                  </a:lnTo>
                  <a:lnTo>
                    <a:pt x="1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18"/>
            <p:cNvSpPr>
              <a:spLocks/>
            </p:cNvSpPr>
            <p:nvPr/>
          </p:nvSpPr>
          <p:spPr bwMode="auto">
            <a:xfrm>
              <a:off x="4937126" y="2557463"/>
              <a:ext cx="858838" cy="534988"/>
            </a:xfrm>
            <a:custGeom>
              <a:avLst/>
              <a:gdLst>
                <a:gd name="T0" fmla="*/ 419 w 541"/>
                <a:gd name="T1" fmla="*/ 0 h 337"/>
                <a:gd name="T2" fmla="*/ 479 w 541"/>
                <a:gd name="T3" fmla="*/ 37 h 337"/>
                <a:gd name="T4" fmla="*/ 541 w 541"/>
                <a:gd name="T5" fmla="*/ 74 h 337"/>
                <a:gd name="T6" fmla="*/ 509 w 541"/>
                <a:gd name="T7" fmla="*/ 123 h 337"/>
                <a:gd name="T8" fmla="*/ 474 w 541"/>
                <a:gd name="T9" fmla="*/ 168 h 337"/>
                <a:gd name="T10" fmla="*/ 436 w 541"/>
                <a:gd name="T11" fmla="*/ 207 h 337"/>
                <a:gd name="T12" fmla="*/ 395 w 541"/>
                <a:gd name="T13" fmla="*/ 242 h 337"/>
                <a:gd name="T14" fmla="*/ 353 w 541"/>
                <a:gd name="T15" fmla="*/ 272 h 337"/>
                <a:gd name="T16" fmla="*/ 308 w 541"/>
                <a:gd name="T17" fmla="*/ 296 h 337"/>
                <a:gd name="T18" fmla="*/ 264 w 541"/>
                <a:gd name="T19" fmla="*/ 316 h 337"/>
                <a:gd name="T20" fmla="*/ 218 w 541"/>
                <a:gd name="T21" fmla="*/ 329 h 337"/>
                <a:gd name="T22" fmla="*/ 173 w 541"/>
                <a:gd name="T23" fmla="*/ 336 h 337"/>
                <a:gd name="T24" fmla="*/ 128 w 541"/>
                <a:gd name="T25" fmla="*/ 337 h 337"/>
                <a:gd name="T26" fmla="*/ 84 w 541"/>
                <a:gd name="T27" fmla="*/ 332 h 337"/>
                <a:gd name="T28" fmla="*/ 41 w 541"/>
                <a:gd name="T29" fmla="*/ 322 h 337"/>
                <a:gd name="T30" fmla="*/ 0 w 541"/>
                <a:gd name="T31" fmla="*/ 304 h 337"/>
                <a:gd name="T32" fmla="*/ 59 w 541"/>
                <a:gd name="T33" fmla="*/ 272 h 337"/>
                <a:gd name="T34" fmla="*/ 117 w 541"/>
                <a:gd name="T35" fmla="*/ 241 h 337"/>
                <a:gd name="T36" fmla="*/ 175 w 541"/>
                <a:gd name="T37" fmla="*/ 209 h 337"/>
                <a:gd name="T38" fmla="*/ 229 w 541"/>
                <a:gd name="T39" fmla="*/ 174 h 337"/>
                <a:gd name="T40" fmla="*/ 269 w 541"/>
                <a:gd name="T41" fmla="*/ 143 h 337"/>
                <a:gd name="T42" fmla="*/ 306 w 541"/>
                <a:gd name="T43" fmla="*/ 108 h 337"/>
                <a:gd name="T44" fmla="*/ 343 w 541"/>
                <a:gd name="T45" fmla="*/ 73 h 337"/>
                <a:gd name="T46" fmla="*/ 380 w 541"/>
                <a:gd name="T47" fmla="*/ 36 h 337"/>
                <a:gd name="T48" fmla="*/ 419 w 541"/>
                <a:gd name="T49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1" h="337">
                  <a:moveTo>
                    <a:pt x="419" y="0"/>
                  </a:moveTo>
                  <a:lnTo>
                    <a:pt x="479" y="37"/>
                  </a:lnTo>
                  <a:lnTo>
                    <a:pt x="541" y="74"/>
                  </a:lnTo>
                  <a:lnTo>
                    <a:pt x="509" y="123"/>
                  </a:lnTo>
                  <a:lnTo>
                    <a:pt x="474" y="168"/>
                  </a:lnTo>
                  <a:lnTo>
                    <a:pt x="436" y="207"/>
                  </a:lnTo>
                  <a:lnTo>
                    <a:pt x="395" y="242"/>
                  </a:lnTo>
                  <a:lnTo>
                    <a:pt x="353" y="272"/>
                  </a:lnTo>
                  <a:lnTo>
                    <a:pt x="308" y="296"/>
                  </a:lnTo>
                  <a:lnTo>
                    <a:pt x="264" y="316"/>
                  </a:lnTo>
                  <a:lnTo>
                    <a:pt x="218" y="329"/>
                  </a:lnTo>
                  <a:lnTo>
                    <a:pt x="173" y="336"/>
                  </a:lnTo>
                  <a:lnTo>
                    <a:pt x="128" y="337"/>
                  </a:lnTo>
                  <a:lnTo>
                    <a:pt x="84" y="332"/>
                  </a:lnTo>
                  <a:lnTo>
                    <a:pt x="41" y="322"/>
                  </a:lnTo>
                  <a:lnTo>
                    <a:pt x="0" y="304"/>
                  </a:lnTo>
                  <a:lnTo>
                    <a:pt x="59" y="272"/>
                  </a:lnTo>
                  <a:lnTo>
                    <a:pt x="117" y="241"/>
                  </a:lnTo>
                  <a:lnTo>
                    <a:pt x="175" y="209"/>
                  </a:lnTo>
                  <a:lnTo>
                    <a:pt x="229" y="174"/>
                  </a:lnTo>
                  <a:lnTo>
                    <a:pt x="269" y="143"/>
                  </a:lnTo>
                  <a:lnTo>
                    <a:pt x="306" y="108"/>
                  </a:lnTo>
                  <a:lnTo>
                    <a:pt x="343" y="73"/>
                  </a:lnTo>
                  <a:lnTo>
                    <a:pt x="380" y="36"/>
                  </a:lnTo>
                  <a:lnTo>
                    <a:pt x="4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26800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60B9B08-8772-4D60-ACE0-99F95743092F}"/>
              </a:ext>
            </a:extLst>
          </p:cNvPr>
          <p:cNvSpPr/>
          <p:nvPr/>
        </p:nvSpPr>
        <p:spPr>
          <a:xfrm>
            <a:off x="5031511" y="1111873"/>
            <a:ext cx="2348888" cy="5216671"/>
          </a:xfrm>
          <a:prstGeom prst="roundRect">
            <a:avLst>
              <a:gd name="adj" fmla="val 14173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088" y="85924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088" y="85924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>
          <a:xfrm>
            <a:off x="647531" y="433515"/>
            <a:ext cx="10817582" cy="553998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Value Proposi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9A7F238-9524-420F-B3F2-121616D68B19}"/>
              </a:ext>
            </a:extLst>
          </p:cNvPr>
          <p:cNvSpPr/>
          <p:nvPr/>
        </p:nvSpPr>
        <p:spPr>
          <a:xfrm>
            <a:off x="4917272" y="972283"/>
            <a:ext cx="2577365" cy="5495852"/>
          </a:xfrm>
          <a:prstGeom prst="roundRect">
            <a:avLst>
              <a:gd name="adj" fmla="val 17850"/>
            </a:avLst>
          </a:prstGeom>
          <a:noFill/>
          <a:ln w="76200" cmpd="tri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2E83DDD-7423-41A2-B93A-006477ED6BDF}"/>
              </a:ext>
            </a:extLst>
          </p:cNvPr>
          <p:cNvGrpSpPr/>
          <p:nvPr/>
        </p:nvGrpSpPr>
        <p:grpSpPr>
          <a:xfrm>
            <a:off x="5409007" y="1433021"/>
            <a:ext cx="1593898" cy="1594385"/>
            <a:chOff x="3623036" y="1169989"/>
            <a:chExt cx="2028823" cy="2028823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88BBB83-6D74-416B-B163-E8E1DF39FD31}"/>
                </a:ext>
              </a:extLst>
            </p:cNvPr>
            <p:cNvSpPr/>
            <p:nvPr/>
          </p:nvSpPr>
          <p:spPr>
            <a:xfrm>
              <a:off x="3623036" y="1169989"/>
              <a:ext cx="2028823" cy="2028823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8000"/>
                  </a:schemeClr>
                </a:gs>
                <a:gs pos="100000">
                  <a:schemeClr val="bg1">
                    <a:lumMod val="7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49A4FD2-E893-4406-9E34-BF119F8F228D}"/>
                </a:ext>
              </a:extLst>
            </p:cNvPr>
            <p:cNvSpPr/>
            <p:nvPr/>
          </p:nvSpPr>
          <p:spPr>
            <a:xfrm>
              <a:off x="3690067" y="1237020"/>
              <a:ext cx="1894762" cy="1894762"/>
            </a:xfrm>
            <a:prstGeom prst="ellipse">
              <a:avLst/>
            </a:prstGeom>
            <a:gradFill flip="none" rotWithShape="1">
              <a:gsLst>
                <a:gs pos="100000">
                  <a:schemeClr val="bg1">
                    <a:lumMod val="85000"/>
                  </a:schemeClr>
                </a:gs>
                <a:gs pos="0">
                  <a:schemeClr val="bg1">
                    <a:lumMod val="70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39BDF08-816D-48F4-9298-A1BB96505B7D}"/>
              </a:ext>
            </a:extLst>
          </p:cNvPr>
          <p:cNvGrpSpPr/>
          <p:nvPr/>
        </p:nvGrpSpPr>
        <p:grpSpPr>
          <a:xfrm>
            <a:off x="10020850" y="1380344"/>
            <a:ext cx="1593898" cy="1594385"/>
            <a:chOff x="-2569118" y="3429000"/>
            <a:chExt cx="1894762" cy="1894762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F14CEFA-CEFA-499D-92B8-2E6A600E51C4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6635F34-7C5E-4059-A4CF-2E3A29515F07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51AED3D-86F0-4F1E-9AA4-65B67289B886}"/>
              </a:ext>
            </a:extLst>
          </p:cNvPr>
          <p:cNvGrpSpPr/>
          <p:nvPr/>
        </p:nvGrpSpPr>
        <p:grpSpPr>
          <a:xfrm>
            <a:off x="7869718" y="1380344"/>
            <a:ext cx="1593898" cy="1594385"/>
            <a:chOff x="-2569118" y="3429000"/>
            <a:chExt cx="1894762" cy="1894762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4E44767-4EC0-4423-BCB8-6D503307B52F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2F93176-B4A0-44D5-8A94-85A5051588CF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A7D0A13-C9CF-4357-942D-C20AF81B8E7B}"/>
              </a:ext>
            </a:extLst>
          </p:cNvPr>
          <p:cNvGrpSpPr/>
          <p:nvPr/>
        </p:nvGrpSpPr>
        <p:grpSpPr>
          <a:xfrm>
            <a:off x="2948296" y="1380344"/>
            <a:ext cx="1593898" cy="1594385"/>
            <a:chOff x="-2569118" y="3429000"/>
            <a:chExt cx="1894762" cy="189476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4923B5A-C57F-45D0-A8CC-6EC8BF06D43F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BD03BE5-0532-410B-8D19-D49FCEE680A3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82B816F-5E6D-46AD-BC53-3BE456F0DC34}"/>
              </a:ext>
            </a:extLst>
          </p:cNvPr>
          <p:cNvGrpSpPr/>
          <p:nvPr/>
        </p:nvGrpSpPr>
        <p:grpSpPr>
          <a:xfrm>
            <a:off x="797165" y="1380344"/>
            <a:ext cx="1593898" cy="1594385"/>
            <a:chOff x="-2569118" y="3429000"/>
            <a:chExt cx="1894762" cy="1894762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B55339A-6322-48D2-8BED-7B37027EE739}"/>
                </a:ext>
              </a:extLst>
            </p:cNvPr>
            <p:cNvSpPr/>
            <p:nvPr/>
          </p:nvSpPr>
          <p:spPr>
            <a:xfrm>
              <a:off x="-2569118" y="3429000"/>
              <a:ext cx="1894762" cy="1894762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135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599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3522834-22FE-43FA-B2B1-35243BA46432}"/>
                </a:ext>
              </a:extLst>
            </p:cNvPr>
            <p:cNvSpPr/>
            <p:nvPr/>
          </p:nvSpPr>
          <p:spPr>
            <a:xfrm>
              <a:off x="-2506517" y="3491601"/>
              <a:ext cx="1769559" cy="1769559"/>
            </a:xfrm>
            <a:prstGeom prst="ellipse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lumMod val="83000"/>
                    <a:lumOff val="17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IN" sz="3199" b="1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9" name="Graphic 38" descr="Bullseye">
            <a:extLst>
              <a:ext uri="{FF2B5EF4-FFF2-40B4-BE49-F238E27FC236}">
                <a16:creationId xmlns:a16="http://schemas.microsoft.com/office/drawing/2014/main" id="{7ADAD7DE-B9DA-4663-A149-DC993D3786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7137" y="1805571"/>
            <a:ext cx="713952" cy="74393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100BC3FF-6ECB-4B22-9F94-575C740BEDB8}"/>
              </a:ext>
            </a:extLst>
          </p:cNvPr>
          <p:cNvSpPr txBox="1"/>
          <p:nvPr/>
        </p:nvSpPr>
        <p:spPr>
          <a:xfrm>
            <a:off x="615011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Security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7526B67-3529-4765-8795-8C4325FFE5A3}"/>
              </a:ext>
            </a:extLst>
          </p:cNvPr>
          <p:cNvSpPr txBox="1"/>
          <p:nvPr/>
        </p:nvSpPr>
        <p:spPr>
          <a:xfrm>
            <a:off x="615011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Consistent security implementation for application login</a:t>
            </a:r>
          </a:p>
        </p:txBody>
      </p:sp>
      <p:pic>
        <p:nvPicPr>
          <p:cNvPr id="38" name="Graphic 37" descr="Head with Gears">
            <a:extLst>
              <a:ext uri="{FF2B5EF4-FFF2-40B4-BE49-F238E27FC236}">
                <a16:creationId xmlns:a16="http://schemas.microsoft.com/office/drawing/2014/main" id="{C99106F3-46EC-4F10-818F-F7F045A5E9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05737" y="1719574"/>
            <a:ext cx="879013" cy="91592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3F29DC6B-ED27-46CF-900C-681149A04D8F}"/>
              </a:ext>
            </a:extLst>
          </p:cNvPr>
          <p:cNvSpPr txBox="1"/>
          <p:nvPr/>
        </p:nvSpPr>
        <p:spPr>
          <a:xfrm>
            <a:off x="2766142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Standardiza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84BFBFB-CFD9-46F4-A314-7FD80F1F0A83}"/>
              </a:ext>
            </a:extLst>
          </p:cNvPr>
          <p:cNvSpPr txBox="1"/>
          <p:nvPr/>
        </p:nvSpPr>
        <p:spPr>
          <a:xfrm>
            <a:off x="2766142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Leverage on built-in API-first security practices</a:t>
            </a:r>
            <a:endParaRPr lang="en-US" sz="1600" dirty="0">
              <a:cs typeface="Calibri"/>
            </a:endParaRPr>
          </a:p>
        </p:txBody>
      </p:sp>
      <p:pic>
        <p:nvPicPr>
          <p:cNvPr id="36" name="Graphic 35" descr="Stopwatch">
            <a:extLst>
              <a:ext uri="{FF2B5EF4-FFF2-40B4-BE49-F238E27FC236}">
                <a16:creationId xmlns:a16="http://schemas.microsoft.com/office/drawing/2014/main" id="{8A646AA6-1CAE-41AB-BDD5-A54D20CA96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06395" y="1675373"/>
            <a:ext cx="920542" cy="959198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D1DA4875-DA93-48ED-96B4-E51CF7FA2AB8}"/>
              </a:ext>
            </a:extLst>
          </p:cNvPr>
          <p:cNvSpPr txBox="1"/>
          <p:nvPr/>
        </p:nvSpPr>
        <p:spPr>
          <a:xfrm>
            <a:off x="7687564" y="3314065"/>
            <a:ext cx="195820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Re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7AF0288-199C-4952-BB16-281B66364731}"/>
              </a:ext>
            </a:extLst>
          </p:cNvPr>
          <p:cNvSpPr txBox="1"/>
          <p:nvPr/>
        </p:nvSpPr>
        <p:spPr>
          <a:xfrm>
            <a:off x="7687564" y="3727981"/>
            <a:ext cx="19582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en-US" sz="1600" dirty="0"/>
              <a:t>Transform existing back-end capabilities into secure consumable APIs</a:t>
            </a:r>
            <a:endParaRPr lang="en-US" sz="1600" dirty="0">
              <a:cs typeface="Calibri"/>
            </a:endParaRPr>
          </a:p>
        </p:txBody>
      </p:sp>
      <p:pic>
        <p:nvPicPr>
          <p:cNvPr id="49" name="Graphic 48" descr="Database">
            <a:extLst>
              <a:ext uri="{FF2B5EF4-FFF2-40B4-BE49-F238E27FC236}">
                <a16:creationId xmlns:a16="http://schemas.microsoft.com/office/drawing/2014/main" id="{A337B666-4F0E-4378-9E82-23E1AF00BD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19829" y="1762857"/>
            <a:ext cx="795937" cy="82936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1A8812FE-1B26-4585-A2C4-680CB0C91A34}"/>
              </a:ext>
            </a:extLst>
          </p:cNvPr>
          <p:cNvSpPr txBox="1"/>
          <p:nvPr/>
        </p:nvSpPr>
        <p:spPr>
          <a:xfrm>
            <a:off x="9838696" y="3314065"/>
            <a:ext cx="1958204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ea typeface="Open Sans Condensed" panose="020B0806030504020204" pitchFamily="34" charset="0"/>
                <a:cs typeface="Open Sans Condensed" panose="020B0806030504020204" pitchFamily="34" charset="0"/>
              </a:rPr>
              <a:t>Data-Drive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245A875-D5D6-46F0-8935-E53F96D75BE3}"/>
              </a:ext>
            </a:extLst>
          </p:cNvPr>
          <p:cNvSpPr txBox="1"/>
          <p:nvPr/>
        </p:nvSpPr>
        <p:spPr>
          <a:xfrm>
            <a:off x="9838696" y="3727981"/>
            <a:ext cx="19582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en-US" sz="1600" dirty="0"/>
              <a:t>Visualize API products</a:t>
            </a:r>
            <a:r>
              <a:rPr lang="en-US" sz="1600" dirty="0">
                <a:cs typeface="Calibri"/>
              </a:rPr>
              <a:t> usage for decision makin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EA1ECA-5147-478E-9D91-4BBABC0AE759}"/>
              </a:ext>
            </a:extLst>
          </p:cNvPr>
          <p:cNvSpPr txBox="1"/>
          <p:nvPr/>
        </p:nvSpPr>
        <p:spPr>
          <a:xfrm>
            <a:off x="5099424" y="3314065"/>
            <a:ext cx="2280975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799" b="1" dirty="0">
                <a:solidFill>
                  <a:schemeClr val="bg1"/>
                </a:solidFill>
                <a:ea typeface="Open Sans Condensed" panose="020B0806030504020204" pitchFamily="34" charset="0"/>
                <a:cs typeface="Open Sans Condensed" panose="020B0806030504020204" pitchFamily="34" charset="0"/>
              </a:rPr>
              <a:t>More revenue inflow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B565B9-9F05-4C7A-9F83-3395D793FE97}"/>
              </a:ext>
            </a:extLst>
          </p:cNvPr>
          <p:cNvSpPr txBox="1"/>
          <p:nvPr/>
        </p:nvSpPr>
        <p:spPr>
          <a:xfrm>
            <a:off x="5226853" y="3727981"/>
            <a:ext cx="19582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ea typeface="Open Sans Condensed Light" panose="020B0306030504020204" pitchFamily="34" charset="0"/>
                <a:cs typeface="Open Sans Condensed Light" panose="020B0306030504020204" pitchFamily="34" charset="0"/>
              </a:rPr>
              <a:t>Extend existing business services and assets and build new products faster</a:t>
            </a:r>
          </a:p>
        </p:txBody>
      </p:sp>
      <p:pic>
        <p:nvPicPr>
          <p:cNvPr id="37" name="Graphic 36" descr="Lightbulb">
            <a:extLst>
              <a:ext uri="{FF2B5EF4-FFF2-40B4-BE49-F238E27FC236}">
                <a16:creationId xmlns:a16="http://schemas.microsoft.com/office/drawing/2014/main" id="{A8702CF1-18BA-4065-AEA6-216E27E1667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17893" y="1825856"/>
            <a:ext cx="776124" cy="808715"/>
          </a:xfrm>
          <a:prstGeom prst="rect">
            <a:avLst/>
          </a:prstGeom>
        </p:spPr>
      </p:pic>
      <p:sp>
        <p:nvSpPr>
          <p:cNvPr id="86" name="Oval 85">
            <a:extLst>
              <a:ext uri="{FF2B5EF4-FFF2-40B4-BE49-F238E27FC236}">
                <a16:creationId xmlns:a16="http://schemas.microsoft.com/office/drawing/2014/main" id="{B244A8E3-D432-48C5-8FFB-2BC053D0BBAF}"/>
              </a:ext>
            </a:extLst>
          </p:cNvPr>
          <p:cNvSpPr/>
          <p:nvPr/>
        </p:nvSpPr>
        <p:spPr>
          <a:xfrm>
            <a:off x="5944545" y="5638825"/>
            <a:ext cx="522820" cy="52282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78000"/>
                </a:schemeClr>
              </a:gs>
              <a:gs pos="100000">
                <a:schemeClr val="bg1">
                  <a:lumMod val="77000"/>
                </a:scheme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IN" sz="35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EE1F625-C60C-4BEC-B8C8-5F054BF49F56}"/>
              </a:ext>
            </a:extLst>
          </p:cNvPr>
          <p:cNvSpPr/>
          <p:nvPr/>
        </p:nvSpPr>
        <p:spPr>
          <a:xfrm>
            <a:off x="5992233" y="5686513"/>
            <a:ext cx="427443" cy="427443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95000"/>
                </a:schemeClr>
              </a:gs>
              <a:gs pos="0">
                <a:schemeClr val="bg2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IN" sz="3199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055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37828" y="15846"/>
            <a:ext cx="117610" cy="3269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/>
          <p:cNvSpPr txBox="1"/>
          <p:nvPr/>
        </p:nvSpPr>
        <p:spPr>
          <a:xfrm>
            <a:off x="1125861" y="1313076"/>
            <a:ext cx="49549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IN" sz="8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Case</a:t>
            </a:r>
          </a:p>
          <a:p>
            <a:pPr>
              <a:lnSpc>
                <a:spcPct val="90000"/>
              </a:lnSpc>
            </a:pPr>
            <a:r>
              <a:rPr lang="en-IN" sz="8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Study</a:t>
            </a:r>
          </a:p>
          <a:p>
            <a:pPr>
              <a:lnSpc>
                <a:spcPct val="90000"/>
              </a:lnSpc>
            </a:pPr>
            <a:r>
              <a:rPr lang="en-IN" sz="4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Walkthrough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090160" y="1166367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10"/>
          <p:cNvSpPr/>
          <p:nvPr/>
        </p:nvSpPr>
        <p:spPr>
          <a:xfrm>
            <a:off x="5090160" y="2933700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ounded Rectangle 11"/>
          <p:cNvSpPr/>
          <p:nvPr/>
        </p:nvSpPr>
        <p:spPr>
          <a:xfrm>
            <a:off x="5090160" y="4701033"/>
            <a:ext cx="990600" cy="990600"/>
          </a:xfrm>
          <a:prstGeom prst="round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3" name="Group 12"/>
          <p:cNvGrpSpPr/>
          <p:nvPr/>
        </p:nvGrpSpPr>
        <p:grpSpPr>
          <a:xfrm>
            <a:off x="6598468" y="1156525"/>
            <a:ext cx="3312368" cy="1072675"/>
            <a:chOff x="2494012" y="1609941"/>
            <a:chExt cx="3312368" cy="1072675"/>
          </a:xfrm>
        </p:grpSpPr>
        <p:sp>
          <p:nvSpPr>
            <p:cNvPr id="14" name="TextBox 13"/>
            <p:cNvSpPr txBox="1"/>
            <p:nvPr/>
          </p:nvSpPr>
          <p:spPr>
            <a:xfrm>
              <a:off x="2494012" y="2097006"/>
              <a:ext cx="3312368" cy="585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mpany is exploring a new product line with a Microsit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roblem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598468" y="2923858"/>
            <a:ext cx="3312368" cy="1072675"/>
            <a:chOff x="2494012" y="1609941"/>
            <a:chExt cx="3312368" cy="1072675"/>
          </a:xfrm>
        </p:grpSpPr>
        <p:sp>
          <p:nvSpPr>
            <p:cNvPr id="20" name="TextBox 19"/>
            <p:cNvSpPr txBox="1"/>
            <p:nvPr/>
          </p:nvSpPr>
          <p:spPr>
            <a:xfrm>
              <a:off x="2494012" y="2097006"/>
              <a:ext cx="3312368" cy="585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use existing enterprise security and application infrastructure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olution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598468" y="4691191"/>
            <a:ext cx="3312368" cy="1331207"/>
            <a:chOff x="2494012" y="1609941"/>
            <a:chExt cx="3312368" cy="1331207"/>
          </a:xfrm>
        </p:grpSpPr>
        <p:sp>
          <p:nvSpPr>
            <p:cNvPr id="23" name="TextBox 22"/>
            <p:cNvSpPr txBox="1"/>
            <p:nvPr/>
          </p:nvSpPr>
          <p:spPr>
            <a:xfrm>
              <a:off x="2494012" y="2097006"/>
              <a:ext cx="3312368" cy="844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400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aster time to market, ensuring proper security, integration implementation, and better visibility to consumer trend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494012" y="1609941"/>
              <a:ext cx="3312368" cy="461665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en-US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esults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15328463" y="591672"/>
            <a:ext cx="1259764" cy="3474780"/>
            <a:chOff x="14085889" y="-2835696"/>
            <a:chExt cx="3744912" cy="10329515"/>
          </a:xfrm>
        </p:grpSpPr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14085889" y="1650638"/>
              <a:ext cx="3744912" cy="2747102"/>
            </a:xfrm>
            <a:custGeom>
              <a:avLst/>
              <a:gdLst>
                <a:gd name="T0" fmla="*/ 2712 w 5381"/>
                <a:gd name="T1" fmla="*/ 2856 h 3947"/>
                <a:gd name="T2" fmla="*/ 1755 w 5381"/>
                <a:gd name="T3" fmla="*/ 2102 h 3947"/>
                <a:gd name="T4" fmla="*/ 1024 w 5381"/>
                <a:gd name="T5" fmla="*/ 2288 h 3947"/>
                <a:gd name="T6" fmla="*/ 1579 w 5381"/>
                <a:gd name="T7" fmla="*/ 2897 h 3947"/>
                <a:gd name="T8" fmla="*/ 2160 w 5381"/>
                <a:gd name="T9" fmla="*/ 3381 h 3947"/>
                <a:gd name="T10" fmla="*/ 2606 w 5381"/>
                <a:gd name="T11" fmla="*/ 3697 h 3947"/>
                <a:gd name="T12" fmla="*/ 2875 w 5381"/>
                <a:gd name="T13" fmla="*/ 3664 h 3947"/>
                <a:gd name="T14" fmla="*/ 3349 w 5381"/>
                <a:gd name="T15" fmla="*/ 3324 h 3947"/>
                <a:gd name="T16" fmla="*/ 3937 w 5381"/>
                <a:gd name="T17" fmla="*/ 2818 h 3947"/>
                <a:gd name="T18" fmla="*/ 4472 w 5381"/>
                <a:gd name="T19" fmla="*/ 2195 h 3947"/>
                <a:gd name="T20" fmla="*/ 4031 w 5381"/>
                <a:gd name="T21" fmla="*/ 2010 h 3947"/>
                <a:gd name="T22" fmla="*/ 3559 w 5381"/>
                <a:gd name="T23" fmla="*/ 2044 h 3947"/>
                <a:gd name="T24" fmla="*/ 1468 w 5381"/>
                <a:gd name="T25" fmla="*/ 184 h 3947"/>
                <a:gd name="T26" fmla="*/ 963 w 5381"/>
                <a:gd name="T27" fmla="*/ 435 h 3947"/>
                <a:gd name="T28" fmla="*/ 676 w 5381"/>
                <a:gd name="T29" fmla="*/ 858 h 3947"/>
                <a:gd name="T30" fmla="*/ 650 w 5381"/>
                <a:gd name="T31" fmla="*/ 1539 h 3947"/>
                <a:gd name="T32" fmla="*/ 2056 w 5381"/>
                <a:gd name="T33" fmla="*/ 1164 h 3947"/>
                <a:gd name="T34" fmla="*/ 2189 w 5381"/>
                <a:gd name="T35" fmla="*/ 1189 h 3947"/>
                <a:gd name="T36" fmla="*/ 3264 w 5381"/>
                <a:gd name="T37" fmla="*/ 804 h 3947"/>
                <a:gd name="T38" fmla="*/ 3801 w 5381"/>
                <a:gd name="T39" fmla="*/ 1527 h 3947"/>
                <a:gd name="T40" fmla="*/ 3932 w 5381"/>
                <a:gd name="T41" fmla="*/ 1516 h 3947"/>
                <a:gd name="T42" fmla="*/ 4803 w 5381"/>
                <a:gd name="T43" fmla="*/ 1444 h 3947"/>
                <a:gd name="T44" fmla="*/ 4730 w 5381"/>
                <a:gd name="T45" fmla="*/ 795 h 3947"/>
                <a:gd name="T46" fmla="*/ 4410 w 5381"/>
                <a:gd name="T47" fmla="*/ 386 h 3947"/>
                <a:gd name="T48" fmla="*/ 3878 w 5381"/>
                <a:gd name="T49" fmla="*/ 173 h 3947"/>
                <a:gd name="T50" fmla="*/ 3184 w 5381"/>
                <a:gd name="T51" fmla="*/ 317 h 3947"/>
                <a:gd name="T52" fmla="*/ 2825 w 5381"/>
                <a:gd name="T53" fmla="*/ 508 h 3947"/>
                <a:gd name="T54" fmla="*/ 2705 w 5381"/>
                <a:gd name="T55" fmla="*/ 567 h 3947"/>
                <a:gd name="T56" fmla="*/ 2575 w 5381"/>
                <a:gd name="T57" fmla="*/ 489 h 3947"/>
                <a:gd name="T58" fmla="*/ 2170 w 5381"/>
                <a:gd name="T59" fmla="*/ 284 h 3947"/>
                <a:gd name="T60" fmla="*/ 1643 w 5381"/>
                <a:gd name="T61" fmla="*/ 0 h 3947"/>
                <a:gd name="T62" fmla="*/ 2320 w 5381"/>
                <a:gd name="T63" fmla="*/ 165 h 3947"/>
                <a:gd name="T64" fmla="*/ 2712 w 5381"/>
                <a:gd name="T65" fmla="*/ 379 h 3947"/>
                <a:gd name="T66" fmla="*/ 3105 w 5381"/>
                <a:gd name="T67" fmla="*/ 165 h 3947"/>
                <a:gd name="T68" fmla="*/ 3781 w 5381"/>
                <a:gd name="T69" fmla="*/ 0 h 3947"/>
                <a:gd name="T70" fmla="*/ 4402 w 5381"/>
                <a:gd name="T71" fmla="*/ 178 h 3947"/>
                <a:gd name="T72" fmla="*/ 4808 w 5381"/>
                <a:gd name="T73" fmla="*/ 597 h 3947"/>
                <a:gd name="T74" fmla="*/ 4973 w 5381"/>
                <a:gd name="T75" fmla="*/ 1074 h 3947"/>
                <a:gd name="T76" fmla="*/ 4913 w 5381"/>
                <a:gd name="T77" fmla="*/ 1683 h 3947"/>
                <a:gd name="T78" fmla="*/ 5368 w 5381"/>
                <a:gd name="T79" fmla="*/ 1928 h 3947"/>
                <a:gd name="T80" fmla="*/ 5300 w 5381"/>
                <a:gd name="T81" fmla="*/ 2051 h 3947"/>
                <a:gd name="T82" fmla="*/ 4408 w 5381"/>
                <a:gd name="T83" fmla="*/ 2560 h 3947"/>
                <a:gd name="T84" fmla="*/ 3829 w 5381"/>
                <a:gd name="T85" fmla="*/ 3147 h 3947"/>
                <a:gd name="T86" fmla="*/ 3256 w 5381"/>
                <a:gd name="T87" fmla="*/ 3607 h 3947"/>
                <a:gd name="T88" fmla="*/ 2839 w 5381"/>
                <a:gd name="T89" fmla="*/ 3885 h 3947"/>
                <a:gd name="T90" fmla="*/ 2725 w 5381"/>
                <a:gd name="T91" fmla="*/ 3947 h 3947"/>
                <a:gd name="T92" fmla="*/ 2585 w 5381"/>
                <a:gd name="T93" fmla="*/ 3878 h 3947"/>
                <a:gd name="T94" fmla="*/ 2160 w 5381"/>
                <a:gd name="T95" fmla="*/ 3592 h 3947"/>
                <a:gd name="T96" fmla="*/ 1613 w 5381"/>
                <a:gd name="T97" fmla="*/ 3144 h 3947"/>
                <a:gd name="T98" fmla="*/ 1076 w 5381"/>
                <a:gd name="T99" fmla="*/ 2606 h 3947"/>
                <a:gd name="T100" fmla="*/ 82 w 5381"/>
                <a:gd name="T101" fmla="*/ 2147 h 3947"/>
                <a:gd name="T102" fmla="*/ 16 w 5381"/>
                <a:gd name="T103" fmla="*/ 2017 h 3947"/>
                <a:gd name="T104" fmla="*/ 508 w 5381"/>
                <a:gd name="T105" fmla="*/ 1670 h 3947"/>
                <a:gd name="T106" fmla="*/ 452 w 5381"/>
                <a:gd name="T107" fmla="*/ 1071 h 3947"/>
                <a:gd name="T108" fmla="*/ 616 w 5381"/>
                <a:gd name="T109" fmla="*/ 597 h 3947"/>
                <a:gd name="T110" fmla="*/ 1022 w 5381"/>
                <a:gd name="T111" fmla="*/ 178 h 3947"/>
                <a:gd name="T112" fmla="*/ 1643 w 5381"/>
                <a:gd name="T113" fmla="*/ 0 h 3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81" h="3947">
                  <a:moveTo>
                    <a:pt x="3264" y="1179"/>
                  </a:moveTo>
                  <a:lnTo>
                    <a:pt x="2794" y="2794"/>
                  </a:lnTo>
                  <a:lnTo>
                    <a:pt x="2782" y="2818"/>
                  </a:lnTo>
                  <a:lnTo>
                    <a:pt x="2764" y="2838"/>
                  </a:lnTo>
                  <a:lnTo>
                    <a:pt x="2743" y="2851"/>
                  </a:lnTo>
                  <a:lnTo>
                    <a:pt x="2717" y="2856"/>
                  </a:lnTo>
                  <a:lnTo>
                    <a:pt x="2712" y="2856"/>
                  </a:lnTo>
                  <a:lnTo>
                    <a:pt x="2692" y="2853"/>
                  </a:lnTo>
                  <a:lnTo>
                    <a:pt x="2674" y="2846"/>
                  </a:lnTo>
                  <a:lnTo>
                    <a:pt x="2658" y="2836"/>
                  </a:lnTo>
                  <a:lnTo>
                    <a:pt x="2643" y="2821"/>
                  </a:lnTo>
                  <a:lnTo>
                    <a:pt x="2635" y="2804"/>
                  </a:lnTo>
                  <a:lnTo>
                    <a:pt x="2098" y="1426"/>
                  </a:lnTo>
                  <a:lnTo>
                    <a:pt x="1755" y="2102"/>
                  </a:lnTo>
                  <a:lnTo>
                    <a:pt x="1740" y="2123"/>
                  </a:lnTo>
                  <a:lnTo>
                    <a:pt x="1723" y="2136"/>
                  </a:lnTo>
                  <a:lnTo>
                    <a:pt x="1701" y="2146"/>
                  </a:lnTo>
                  <a:lnTo>
                    <a:pt x="1678" y="2147"/>
                  </a:lnTo>
                  <a:lnTo>
                    <a:pt x="926" y="2147"/>
                  </a:lnTo>
                  <a:lnTo>
                    <a:pt x="957" y="2195"/>
                  </a:lnTo>
                  <a:lnTo>
                    <a:pt x="1024" y="2288"/>
                  </a:lnTo>
                  <a:lnTo>
                    <a:pt x="1096" y="2381"/>
                  </a:lnTo>
                  <a:lnTo>
                    <a:pt x="1171" y="2471"/>
                  </a:lnTo>
                  <a:lnTo>
                    <a:pt x="1249" y="2561"/>
                  </a:lnTo>
                  <a:lnTo>
                    <a:pt x="1329" y="2648"/>
                  </a:lnTo>
                  <a:lnTo>
                    <a:pt x="1411" y="2733"/>
                  </a:lnTo>
                  <a:lnTo>
                    <a:pt x="1494" y="2815"/>
                  </a:lnTo>
                  <a:lnTo>
                    <a:pt x="1579" y="2897"/>
                  </a:lnTo>
                  <a:lnTo>
                    <a:pt x="1664" y="2974"/>
                  </a:lnTo>
                  <a:lnTo>
                    <a:pt x="1749" y="3049"/>
                  </a:lnTo>
                  <a:lnTo>
                    <a:pt x="1834" y="3123"/>
                  </a:lnTo>
                  <a:lnTo>
                    <a:pt x="1918" y="3191"/>
                  </a:lnTo>
                  <a:lnTo>
                    <a:pt x="2000" y="3258"/>
                  </a:lnTo>
                  <a:lnTo>
                    <a:pt x="2082" y="3322"/>
                  </a:lnTo>
                  <a:lnTo>
                    <a:pt x="2160" y="3381"/>
                  </a:lnTo>
                  <a:lnTo>
                    <a:pt x="2235" y="3438"/>
                  </a:lnTo>
                  <a:lnTo>
                    <a:pt x="2309" y="3491"/>
                  </a:lnTo>
                  <a:lnTo>
                    <a:pt x="2377" y="3540"/>
                  </a:lnTo>
                  <a:lnTo>
                    <a:pt x="2441" y="3585"/>
                  </a:lnTo>
                  <a:lnTo>
                    <a:pt x="2501" y="3626"/>
                  </a:lnTo>
                  <a:lnTo>
                    <a:pt x="2557" y="3664"/>
                  </a:lnTo>
                  <a:lnTo>
                    <a:pt x="2606" y="3697"/>
                  </a:lnTo>
                  <a:lnTo>
                    <a:pt x="2650" y="3725"/>
                  </a:lnTo>
                  <a:lnTo>
                    <a:pt x="2687" y="3749"/>
                  </a:lnTo>
                  <a:lnTo>
                    <a:pt x="2717" y="3769"/>
                  </a:lnTo>
                  <a:lnTo>
                    <a:pt x="2746" y="3749"/>
                  </a:lnTo>
                  <a:lnTo>
                    <a:pt x="2782" y="3726"/>
                  </a:lnTo>
                  <a:lnTo>
                    <a:pt x="2826" y="3697"/>
                  </a:lnTo>
                  <a:lnTo>
                    <a:pt x="2875" y="3664"/>
                  </a:lnTo>
                  <a:lnTo>
                    <a:pt x="2929" y="3628"/>
                  </a:lnTo>
                  <a:lnTo>
                    <a:pt x="2990" y="3587"/>
                  </a:lnTo>
                  <a:lnTo>
                    <a:pt x="3055" y="3541"/>
                  </a:lnTo>
                  <a:lnTo>
                    <a:pt x="3123" y="3492"/>
                  </a:lnTo>
                  <a:lnTo>
                    <a:pt x="3195" y="3440"/>
                  </a:lnTo>
                  <a:lnTo>
                    <a:pt x="3270" y="3383"/>
                  </a:lnTo>
                  <a:lnTo>
                    <a:pt x="3349" y="3324"/>
                  </a:lnTo>
                  <a:lnTo>
                    <a:pt x="3430" y="3260"/>
                  </a:lnTo>
                  <a:lnTo>
                    <a:pt x="3514" y="3193"/>
                  </a:lnTo>
                  <a:lnTo>
                    <a:pt x="3597" y="3124"/>
                  </a:lnTo>
                  <a:lnTo>
                    <a:pt x="3682" y="3052"/>
                  </a:lnTo>
                  <a:lnTo>
                    <a:pt x="3767" y="2977"/>
                  </a:lnTo>
                  <a:lnTo>
                    <a:pt x="3852" y="2898"/>
                  </a:lnTo>
                  <a:lnTo>
                    <a:pt x="3937" y="2818"/>
                  </a:lnTo>
                  <a:lnTo>
                    <a:pt x="4020" y="2735"/>
                  </a:lnTo>
                  <a:lnTo>
                    <a:pt x="4101" y="2650"/>
                  </a:lnTo>
                  <a:lnTo>
                    <a:pt x="4181" y="2563"/>
                  </a:lnTo>
                  <a:lnTo>
                    <a:pt x="4258" y="2473"/>
                  </a:lnTo>
                  <a:lnTo>
                    <a:pt x="4333" y="2381"/>
                  </a:lnTo>
                  <a:lnTo>
                    <a:pt x="4405" y="2288"/>
                  </a:lnTo>
                  <a:lnTo>
                    <a:pt x="4472" y="2195"/>
                  </a:lnTo>
                  <a:lnTo>
                    <a:pt x="4518" y="2125"/>
                  </a:lnTo>
                  <a:lnTo>
                    <a:pt x="4563" y="2051"/>
                  </a:lnTo>
                  <a:lnTo>
                    <a:pt x="4103" y="2051"/>
                  </a:lnTo>
                  <a:lnTo>
                    <a:pt x="4082" y="2048"/>
                  </a:lnTo>
                  <a:lnTo>
                    <a:pt x="4062" y="2040"/>
                  </a:lnTo>
                  <a:lnTo>
                    <a:pt x="4044" y="2026"/>
                  </a:lnTo>
                  <a:lnTo>
                    <a:pt x="4031" y="2010"/>
                  </a:lnTo>
                  <a:lnTo>
                    <a:pt x="3863" y="1722"/>
                  </a:lnTo>
                  <a:lnTo>
                    <a:pt x="3664" y="2015"/>
                  </a:lnTo>
                  <a:lnTo>
                    <a:pt x="3646" y="2031"/>
                  </a:lnTo>
                  <a:lnTo>
                    <a:pt x="3626" y="2044"/>
                  </a:lnTo>
                  <a:lnTo>
                    <a:pt x="3603" y="2051"/>
                  </a:lnTo>
                  <a:lnTo>
                    <a:pt x="3581" y="2051"/>
                  </a:lnTo>
                  <a:lnTo>
                    <a:pt x="3559" y="2044"/>
                  </a:lnTo>
                  <a:lnTo>
                    <a:pt x="3540" y="2033"/>
                  </a:lnTo>
                  <a:lnTo>
                    <a:pt x="3525" y="2015"/>
                  </a:lnTo>
                  <a:lnTo>
                    <a:pt x="3515" y="1994"/>
                  </a:lnTo>
                  <a:lnTo>
                    <a:pt x="3264" y="1179"/>
                  </a:lnTo>
                  <a:close/>
                  <a:moveTo>
                    <a:pt x="1647" y="170"/>
                  </a:moveTo>
                  <a:lnTo>
                    <a:pt x="1556" y="173"/>
                  </a:lnTo>
                  <a:lnTo>
                    <a:pt x="1468" y="184"/>
                  </a:lnTo>
                  <a:lnTo>
                    <a:pt x="1383" y="204"/>
                  </a:lnTo>
                  <a:lnTo>
                    <a:pt x="1303" y="229"/>
                  </a:lnTo>
                  <a:lnTo>
                    <a:pt x="1226" y="260"/>
                  </a:lnTo>
                  <a:lnTo>
                    <a:pt x="1154" y="297"/>
                  </a:lnTo>
                  <a:lnTo>
                    <a:pt x="1086" y="338"/>
                  </a:lnTo>
                  <a:lnTo>
                    <a:pt x="1022" y="386"/>
                  </a:lnTo>
                  <a:lnTo>
                    <a:pt x="963" y="435"/>
                  </a:lnTo>
                  <a:lnTo>
                    <a:pt x="908" y="489"/>
                  </a:lnTo>
                  <a:lnTo>
                    <a:pt x="857" y="546"/>
                  </a:lnTo>
                  <a:lnTo>
                    <a:pt x="811" y="606"/>
                  </a:lnTo>
                  <a:lnTo>
                    <a:pt x="771" y="667"/>
                  </a:lnTo>
                  <a:lnTo>
                    <a:pt x="735" y="731"/>
                  </a:lnTo>
                  <a:lnTo>
                    <a:pt x="704" y="795"/>
                  </a:lnTo>
                  <a:lnTo>
                    <a:pt x="676" y="858"/>
                  </a:lnTo>
                  <a:lnTo>
                    <a:pt x="655" y="922"/>
                  </a:lnTo>
                  <a:lnTo>
                    <a:pt x="632" y="1020"/>
                  </a:lnTo>
                  <a:lnTo>
                    <a:pt x="617" y="1120"/>
                  </a:lnTo>
                  <a:lnTo>
                    <a:pt x="612" y="1223"/>
                  </a:lnTo>
                  <a:lnTo>
                    <a:pt x="616" y="1326"/>
                  </a:lnTo>
                  <a:lnTo>
                    <a:pt x="629" y="1431"/>
                  </a:lnTo>
                  <a:lnTo>
                    <a:pt x="650" y="1539"/>
                  </a:lnTo>
                  <a:lnTo>
                    <a:pt x="679" y="1647"/>
                  </a:lnTo>
                  <a:lnTo>
                    <a:pt x="718" y="1757"/>
                  </a:lnTo>
                  <a:lnTo>
                    <a:pt x="767" y="1868"/>
                  </a:lnTo>
                  <a:lnTo>
                    <a:pt x="823" y="1979"/>
                  </a:lnTo>
                  <a:lnTo>
                    <a:pt x="1638" y="1979"/>
                  </a:lnTo>
                  <a:lnTo>
                    <a:pt x="2041" y="1184"/>
                  </a:lnTo>
                  <a:lnTo>
                    <a:pt x="2056" y="1164"/>
                  </a:lnTo>
                  <a:lnTo>
                    <a:pt x="2072" y="1150"/>
                  </a:lnTo>
                  <a:lnTo>
                    <a:pt x="2093" y="1141"/>
                  </a:lnTo>
                  <a:lnTo>
                    <a:pt x="2118" y="1138"/>
                  </a:lnTo>
                  <a:lnTo>
                    <a:pt x="2141" y="1141"/>
                  </a:lnTo>
                  <a:lnTo>
                    <a:pt x="2162" y="1153"/>
                  </a:lnTo>
                  <a:lnTo>
                    <a:pt x="2178" y="1169"/>
                  </a:lnTo>
                  <a:lnTo>
                    <a:pt x="2189" y="1189"/>
                  </a:lnTo>
                  <a:lnTo>
                    <a:pt x="2707" y="2512"/>
                  </a:lnTo>
                  <a:lnTo>
                    <a:pt x="3182" y="867"/>
                  </a:lnTo>
                  <a:lnTo>
                    <a:pt x="3192" y="847"/>
                  </a:lnTo>
                  <a:lnTo>
                    <a:pt x="3205" y="829"/>
                  </a:lnTo>
                  <a:lnTo>
                    <a:pt x="3223" y="816"/>
                  </a:lnTo>
                  <a:lnTo>
                    <a:pt x="3243" y="808"/>
                  </a:lnTo>
                  <a:lnTo>
                    <a:pt x="3264" y="804"/>
                  </a:lnTo>
                  <a:lnTo>
                    <a:pt x="3285" y="809"/>
                  </a:lnTo>
                  <a:lnTo>
                    <a:pt x="3306" y="819"/>
                  </a:lnTo>
                  <a:lnTo>
                    <a:pt x="3323" y="831"/>
                  </a:lnTo>
                  <a:lnTo>
                    <a:pt x="3337" y="847"/>
                  </a:lnTo>
                  <a:lnTo>
                    <a:pt x="3345" y="867"/>
                  </a:lnTo>
                  <a:lnTo>
                    <a:pt x="3628" y="1784"/>
                  </a:lnTo>
                  <a:lnTo>
                    <a:pt x="3801" y="1527"/>
                  </a:lnTo>
                  <a:lnTo>
                    <a:pt x="3814" y="1511"/>
                  </a:lnTo>
                  <a:lnTo>
                    <a:pt x="3832" y="1500"/>
                  </a:lnTo>
                  <a:lnTo>
                    <a:pt x="3852" y="1495"/>
                  </a:lnTo>
                  <a:lnTo>
                    <a:pt x="3873" y="1491"/>
                  </a:lnTo>
                  <a:lnTo>
                    <a:pt x="3896" y="1495"/>
                  </a:lnTo>
                  <a:lnTo>
                    <a:pt x="3915" y="1503"/>
                  </a:lnTo>
                  <a:lnTo>
                    <a:pt x="3932" y="1516"/>
                  </a:lnTo>
                  <a:lnTo>
                    <a:pt x="3945" y="1532"/>
                  </a:lnTo>
                  <a:lnTo>
                    <a:pt x="4154" y="1892"/>
                  </a:lnTo>
                  <a:lnTo>
                    <a:pt x="4657" y="1892"/>
                  </a:lnTo>
                  <a:lnTo>
                    <a:pt x="4706" y="1778"/>
                  </a:lnTo>
                  <a:lnTo>
                    <a:pt x="4748" y="1665"/>
                  </a:lnTo>
                  <a:lnTo>
                    <a:pt x="4779" y="1554"/>
                  </a:lnTo>
                  <a:lnTo>
                    <a:pt x="4803" y="1444"/>
                  </a:lnTo>
                  <a:lnTo>
                    <a:pt x="4817" y="1336"/>
                  </a:lnTo>
                  <a:lnTo>
                    <a:pt x="4821" y="1230"/>
                  </a:lnTo>
                  <a:lnTo>
                    <a:pt x="4817" y="1125"/>
                  </a:lnTo>
                  <a:lnTo>
                    <a:pt x="4802" y="1024"/>
                  </a:lnTo>
                  <a:lnTo>
                    <a:pt x="4779" y="922"/>
                  </a:lnTo>
                  <a:lnTo>
                    <a:pt x="4758" y="858"/>
                  </a:lnTo>
                  <a:lnTo>
                    <a:pt x="4730" y="795"/>
                  </a:lnTo>
                  <a:lnTo>
                    <a:pt x="4699" y="731"/>
                  </a:lnTo>
                  <a:lnTo>
                    <a:pt x="4661" y="667"/>
                  </a:lnTo>
                  <a:lnTo>
                    <a:pt x="4621" y="606"/>
                  </a:lnTo>
                  <a:lnTo>
                    <a:pt x="4575" y="546"/>
                  </a:lnTo>
                  <a:lnTo>
                    <a:pt x="4524" y="489"/>
                  </a:lnTo>
                  <a:lnTo>
                    <a:pt x="4469" y="435"/>
                  </a:lnTo>
                  <a:lnTo>
                    <a:pt x="4410" y="386"/>
                  </a:lnTo>
                  <a:lnTo>
                    <a:pt x="4345" y="338"/>
                  </a:lnTo>
                  <a:lnTo>
                    <a:pt x="4278" y="297"/>
                  </a:lnTo>
                  <a:lnTo>
                    <a:pt x="4204" y="260"/>
                  </a:lnTo>
                  <a:lnTo>
                    <a:pt x="4129" y="229"/>
                  </a:lnTo>
                  <a:lnTo>
                    <a:pt x="4049" y="204"/>
                  </a:lnTo>
                  <a:lnTo>
                    <a:pt x="3964" y="184"/>
                  </a:lnTo>
                  <a:lnTo>
                    <a:pt x="3878" y="173"/>
                  </a:lnTo>
                  <a:lnTo>
                    <a:pt x="3786" y="170"/>
                  </a:lnTo>
                  <a:lnTo>
                    <a:pt x="3677" y="175"/>
                  </a:lnTo>
                  <a:lnTo>
                    <a:pt x="3568" y="189"/>
                  </a:lnTo>
                  <a:lnTo>
                    <a:pt x="3456" y="215"/>
                  </a:lnTo>
                  <a:lnTo>
                    <a:pt x="3345" y="251"/>
                  </a:lnTo>
                  <a:lnTo>
                    <a:pt x="3262" y="284"/>
                  </a:lnTo>
                  <a:lnTo>
                    <a:pt x="3184" y="317"/>
                  </a:lnTo>
                  <a:lnTo>
                    <a:pt x="3112" y="348"/>
                  </a:lnTo>
                  <a:lnTo>
                    <a:pt x="3048" y="379"/>
                  </a:lnTo>
                  <a:lnTo>
                    <a:pt x="2990" y="410"/>
                  </a:lnTo>
                  <a:lnTo>
                    <a:pt x="2939" y="438"/>
                  </a:lnTo>
                  <a:lnTo>
                    <a:pt x="2893" y="464"/>
                  </a:lnTo>
                  <a:lnTo>
                    <a:pt x="2856" y="489"/>
                  </a:lnTo>
                  <a:lnTo>
                    <a:pt x="2825" y="508"/>
                  </a:lnTo>
                  <a:lnTo>
                    <a:pt x="2800" y="526"/>
                  </a:lnTo>
                  <a:lnTo>
                    <a:pt x="2782" y="538"/>
                  </a:lnTo>
                  <a:lnTo>
                    <a:pt x="2771" y="546"/>
                  </a:lnTo>
                  <a:lnTo>
                    <a:pt x="2767" y="549"/>
                  </a:lnTo>
                  <a:lnTo>
                    <a:pt x="2748" y="561"/>
                  </a:lnTo>
                  <a:lnTo>
                    <a:pt x="2727" y="567"/>
                  </a:lnTo>
                  <a:lnTo>
                    <a:pt x="2705" y="567"/>
                  </a:lnTo>
                  <a:lnTo>
                    <a:pt x="2686" y="561"/>
                  </a:lnTo>
                  <a:lnTo>
                    <a:pt x="2666" y="549"/>
                  </a:lnTo>
                  <a:lnTo>
                    <a:pt x="2661" y="546"/>
                  </a:lnTo>
                  <a:lnTo>
                    <a:pt x="2650" y="538"/>
                  </a:lnTo>
                  <a:lnTo>
                    <a:pt x="2632" y="526"/>
                  </a:lnTo>
                  <a:lnTo>
                    <a:pt x="2606" y="508"/>
                  </a:lnTo>
                  <a:lnTo>
                    <a:pt x="2575" y="489"/>
                  </a:lnTo>
                  <a:lnTo>
                    <a:pt x="2536" y="464"/>
                  </a:lnTo>
                  <a:lnTo>
                    <a:pt x="2492" y="438"/>
                  </a:lnTo>
                  <a:lnTo>
                    <a:pt x="2439" y="410"/>
                  </a:lnTo>
                  <a:lnTo>
                    <a:pt x="2382" y="379"/>
                  </a:lnTo>
                  <a:lnTo>
                    <a:pt x="2318" y="348"/>
                  </a:lnTo>
                  <a:lnTo>
                    <a:pt x="2247" y="317"/>
                  </a:lnTo>
                  <a:lnTo>
                    <a:pt x="2170" y="284"/>
                  </a:lnTo>
                  <a:lnTo>
                    <a:pt x="2087" y="251"/>
                  </a:lnTo>
                  <a:lnTo>
                    <a:pt x="1998" y="224"/>
                  </a:lnTo>
                  <a:lnTo>
                    <a:pt x="1910" y="201"/>
                  </a:lnTo>
                  <a:lnTo>
                    <a:pt x="1822" y="183"/>
                  </a:lnTo>
                  <a:lnTo>
                    <a:pt x="1734" y="173"/>
                  </a:lnTo>
                  <a:lnTo>
                    <a:pt x="1647" y="170"/>
                  </a:lnTo>
                  <a:close/>
                  <a:moveTo>
                    <a:pt x="1643" y="0"/>
                  </a:moveTo>
                  <a:lnTo>
                    <a:pt x="1739" y="4"/>
                  </a:lnTo>
                  <a:lnTo>
                    <a:pt x="1837" y="14"/>
                  </a:lnTo>
                  <a:lnTo>
                    <a:pt x="1936" y="34"/>
                  </a:lnTo>
                  <a:lnTo>
                    <a:pt x="2038" y="60"/>
                  </a:lnTo>
                  <a:lnTo>
                    <a:pt x="2139" y="93"/>
                  </a:lnTo>
                  <a:lnTo>
                    <a:pt x="2234" y="129"/>
                  </a:lnTo>
                  <a:lnTo>
                    <a:pt x="2320" y="165"/>
                  </a:lnTo>
                  <a:lnTo>
                    <a:pt x="2400" y="201"/>
                  </a:lnTo>
                  <a:lnTo>
                    <a:pt x="2470" y="237"/>
                  </a:lnTo>
                  <a:lnTo>
                    <a:pt x="2534" y="269"/>
                  </a:lnTo>
                  <a:lnTo>
                    <a:pt x="2591" y="302"/>
                  </a:lnTo>
                  <a:lnTo>
                    <a:pt x="2638" y="332"/>
                  </a:lnTo>
                  <a:lnTo>
                    <a:pt x="2679" y="358"/>
                  </a:lnTo>
                  <a:lnTo>
                    <a:pt x="2712" y="379"/>
                  </a:lnTo>
                  <a:lnTo>
                    <a:pt x="2745" y="358"/>
                  </a:lnTo>
                  <a:lnTo>
                    <a:pt x="2785" y="332"/>
                  </a:lnTo>
                  <a:lnTo>
                    <a:pt x="2834" y="302"/>
                  </a:lnTo>
                  <a:lnTo>
                    <a:pt x="2890" y="269"/>
                  </a:lnTo>
                  <a:lnTo>
                    <a:pt x="2954" y="237"/>
                  </a:lnTo>
                  <a:lnTo>
                    <a:pt x="3025" y="201"/>
                  </a:lnTo>
                  <a:lnTo>
                    <a:pt x="3105" y="165"/>
                  </a:lnTo>
                  <a:lnTo>
                    <a:pt x="3190" y="129"/>
                  </a:lnTo>
                  <a:lnTo>
                    <a:pt x="3285" y="93"/>
                  </a:lnTo>
                  <a:lnTo>
                    <a:pt x="3385" y="60"/>
                  </a:lnTo>
                  <a:lnTo>
                    <a:pt x="3486" y="34"/>
                  </a:lnTo>
                  <a:lnTo>
                    <a:pt x="3584" y="14"/>
                  </a:lnTo>
                  <a:lnTo>
                    <a:pt x="3682" y="4"/>
                  </a:lnTo>
                  <a:lnTo>
                    <a:pt x="3781" y="0"/>
                  </a:lnTo>
                  <a:lnTo>
                    <a:pt x="3881" y="4"/>
                  </a:lnTo>
                  <a:lnTo>
                    <a:pt x="3977" y="16"/>
                  </a:lnTo>
                  <a:lnTo>
                    <a:pt x="4070" y="36"/>
                  </a:lnTo>
                  <a:lnTo>
                    <a:pt x="4160" y="62"/>
                  </a:lnTo>
                  <a:lnTo>
                    <a:pt x="4245" y="96"/>
                  </a:lnTo>
                  <a:lnTo>
                    <a:pt x="4325" y="134"/>
                  </a:lnTo>
                  <a:lnTo>
                    <a:pt x="4402" y="178"/>
                  </a:lnTo>
                  <a:lnTo>
                    <a:pt x="4474" y="227"/>
                  </a:lnTo>
                  <a:lnTo>
                    <a:pt x="4541" y="281"/>
                  </a:lnTo>
                  <a:lnTo>
                    <a:pt x="4604" y="338"/>
                  </a:lnTo>
                  <a:lnTo>
                    <a:pt x="4661" y="399"/>
                  </a:lnTo>
                  <a:lnTo>
                    <a:pt x="4715" y="463"/>
                  </a:lnTo>
                  <a:lnTo>
                    <a:pt x="4764" y="530"/>
                  </a:lnTo>
                  <a:lnTo>
                    <a:pt x="4808" y="597"/>
                  </a:lnTo>
                  <a:lnTo>
                    <a:pt x="4848" y="665"/>
                  </a:lnTo>
                  <a:lnTo>
                    <a:pt x="4880" y="736"/>
                  </a:lnTo>
                  <a:lnTo>
                    <a:pt x="4910" y="806"/>
                  </a:lnTo>
                  <a:lnTo>
                    <a:pt x="4932" y="876"/>
                  </a:lnTo>
                  <a:lnTo>
                    <a:pt x="4949" y="939"/>
                  </a:lnTo>
                  <a:lnTo>
                    <a:pt x="4963" y="1004"/>
                  </a:lnTo>
                  <a:lnTo>
                    <a:pt x="4973" y="1074"/>
                  </a:lnTo>
                  <a:lnTo>
                    <a:pt x="4981" y="1150"/>
                  </a:lnTo>
                  <a:lnTo>
                    <a:pt x="4983" y="1228"/>
                  </a:lnTo>
                  <a:lnTo>
                    <a:pt x="4981" y="1312"/>
                  </a:lnTo>
                  <a:lnTo>
                    <a:pt x="4973" y="1398"/>
                  </a:lnTo>
                  <a:lnTo>
                    <a:pt x="4960" y="1490"/>
                  </a:lnTo>
                  <a:lnTo>
                    <a:pt x="4941" y="1585"/>
                  </a:lnTo>
                  <a:lnTo>
                    <a:pt x="4913" y="1683"/>
                  </a:lnTo>
                  <a:lnTo>
                    <a:pt x="4879" y="1786"/>
                  </a:lnTo>
                  <a:lnTo>
                    <a:pt x="4835" y="1892"/>
                  </a:lnTo>
                  <a:lnTo>
                    <a:pt x="5290" y="1892"/>
                  </a:lnTo>
                  <a:lnTo>
                    <a:pt x="5313" y="1894"/>
                  </a:lnTo>
                  <a:lnTo>
                    <a:pt x="5334" y="1902"/>
                  </a:lnTo>
                  <a:lnTo>
                    <a:pt x="5354" y="1914"/>
                  </a:lnTo>
                  <a:lnTo>
                    <a:pt x="5368" y="1928"/>
                  </a:lnTo>
                  <a:lnTo>
                    <a:pt x="5378" y="1946"/>
                  </a:lnTo>
                  <a:lnTo>
                    <a:pt x="5381" y="1969"/>
                  </a:lnTo>
                  <a:lnTo>
                    <a:pt x="5378" y="1995"/>
                  </a:lnTo>
                  <a:lnTo>
                    <a:pt x="5367" y="2018"/>
                  </a:lnTo>
                  <a:lnTo>
                    <a:pt x="5349" y="2035"/>
                  </a:lnTo>
                  <a:lnTo>
                    <a:pt x="5326" y="2046"/>
                  </a:lnTo>
                  <a:lnTo>
                    <a:pt x="5300" y="2051"/>
                  </a:lnTo>
                  <a:lnTo>
                    <a:pt x="4763" y="2051"/>
                  </a:lnTo>
                  <a:lnTo>
                    <a:pt x="4720" y="2128"/>
                  </a:lnTo>
                  <a:lnTo>
                    <a:pt x="4673" y="2205"/>
                  </a:lnTo>
                  <a:lnTo>
                    <a:pt x="4621" y="2282"/>
                  </a:lnTo>
                  <a:lnTo>
                    <a:pt x="4554" y="2375"/>
                  </a:lnTo>
                  <a:lnTo>
                    <a:pt x="4482" y="2468"/>
                  </a:lnTo>
                  <a:lnTo>
                    <a:pt x="4408" y="2560"/>
                  </a:lnTo>
                  <a:lnTo>
                    <a:pt x="4330" y="2650"/>
                  </a:lnTo>
                  <a:lnTo>
                    <a:pt x="4252" y="2738"/>
                  </a:lnTo>
                  <a:lnTo>
                    <a:pt x="4168" y="2823"/>
                  </a:lnTo>
                  <a:lnTo>
                    <a:pt x="4085" y="2908"/>
                  </a:lnTo>
                  <a:lnTo>
                    <a:pt x="4000" y="2990"/>
                  </a:lnTo>
                  <a:lnTo>
                    <a:pt x="3915" y="3070"/>
                  </a:lnTo>
                  <a:lnTo>
                    <a:pt x="3829" y="3147"/>
                  </a:lnTo>
                  <a:lnTo>
                    <a:pt x="3744" y="3222"/>
                  </a:lnTo>
                  <a:lnTo>
                    <a:pt x="3657" y="3293"/>
                  </a:lnTo>
                  <a:lnTo>
                    <a:pt x="3574" y="3363"/>
                  </a:lnTo>
                  <a:lnTo>
                    <a:pt x="3491" y="3428"/>
                  </a:lnTo>
                  <a:lnTo>
                    <a:pt x="3409" y="3491"/>
                  </a:lnTo>
                  <a:lnTo>
                    <a:pt x="3331" y="3551"/>
                  </a:lnTo>
                  <a:lnTo>
                    <a:pt x="3256" y="3607"/>
                  </a:lnTo>
                  <a:lnTo>
                    <a:pt x="3182" y="3659"/>
                  </a:lnTo>
                  <a:lnTo>
                    <a:pt x="3114" y="3707"/>
                  </a:lnTo>
                  <a:lnTo>
                    <a:pt x="3048" y="3751"/>
                  </a:lnTo>
                  <a:lnTo>
                    <a:pt x="2990" y="3792"/>
                  </a:lnTo>
                  <a:lnTo>
                    <a:pt x="2934" y="3828"/>
                  </a:lnTo>
                  <a:lnTo>
                    <a:pt x="2883" y="3859"/>
                  </a:lnTo>
                  <a:lnTo>
                    <a:pt x="2839" y="3885"/>
                  </a:lnTo>
                  <a:lnTo>
                    <a:pt x="2802" y="3908"/>
                  </a:lnTo>
                  <a:lnTo>
                    <a:pt x="2771" y="3926"/>
                  </a:lnTo>
                  <a:lnTo>
                    <a:pt x="2748" y="3937"/>
                  </a:lnTo>
                  <a:lnTo>
                    <a:pt x="2748" y="3942"/>
                  </a:lnTo>
                  <a:lnTo>
                    <a:pt x="2732" y="3942"/>
                  </a:lnTo>
                  <a:lnTo>
                    <a:pt x="2728" y="3945"/>
                  </a:lnTo>
                  <a:lnTo>
                    <a:pt x="2725" y="3947"/>
                  </a:lnTo>
                  <a:lnTo>
                    <a:pt x="2723" y="3947"/>
                  </a:lnTo>
                  <a:lnTo>
                    <a:pt x="2722" y="3947"/>
                  </a:lnTo>
                  <a:lnTo>
                    <a:pt x="2722" y="3942"/>
                  </a:lnTo>
                  <a:lnTo>
                    <a:pt x="2697" y="3934"/>
                  </a:lnTo>
                  <a:lnTo>
                    <a:pt x="2665" y="3921"/>
                  </a:lnTo>
                  <a:lnTo>
                    <a:pt x="2629" y="3903"/>
                  </a:lnTo>
                  <a:lnTo>
                    <a:pt x="2585" y="3878"/>
                  </a:lnTo>
                  <a:lnTo>
                    <a:pt x="2537" y="3850"/>
                  </a:lnTo>
                  <a:lnTo>
                    <a:pt x="2483" y="3818"/>
                  </a:lnTo>
                  <a:lnTo>
                    <a:pt x="2426" y="3780"/>
                  </a:lnTo>
                  <a:lnTo>
                    <a:pt x="2366" y="3739"/>
                  </a:lnTo>
                  <a:lnTo>
                    <a:pt x="2301" y="3693"/>
                  </a:lnTo>
                  <a:lnTo>
                    <a:pt x="2232" y="3644"/>
                  </a:lnTo>
                  <a:lnTo>
                    <a:pt x="2160" y="3592"/>
                  </a:lnTo>
                  <a:lnTo>
                    <a:pt x="2087" y="3536"/>
                  </a:lnTo>
                  <a:lnTo>
                    <a:pt x="2010" y="3477"/>
                  </a:lnTo>
                  <a:lnTo>
                    <a:pt x="1933" y="3415"/>
                  </a:lnTo>
                  <a:lnTo>
                    <a:pt x="1855" y="3352"/>
                  </a:lnTo>
                  <a:lnTo>
                    <a:pt x="1775" y="3284"/>
                  </a:lnTo>
                  <a:lnTo>
                    <a:pt x="1693" y="3216"/>
                  </a:lnTo>
                  <a:lnTo>
                    <a:pt x="1613" y="3144"/>
                  </a:lnTo>
                  <a:lnTo>
                    <a:pt x="1533" y="3070"/>
                  </a:lnTo>
                  <a:lnTo>
                    <a:pt x="1453" y="2997"/>
                  </a:lnTo>
                  <a:lnTo>
                    <a:pt x="1373" y="2920"/>
                  </a:lnTo>
                  <a:lnTo>
                    <a:pt x="1296" y="2843"/>
                  </a:lnTo>
                  <a:lnTo>
                    <a:pt x="1220" y="2764"/>
                  </a:lnTo>
                  <a:lnTo>
                    <a:pt x="1146" y="2686"/>
                  </a:lnTo>
                  <a:lnTo>
                    <a:pt x="1076" y="2606"/>
                  </a:lnTo>
                  <a:lnTo>
                    <a:pt x="1007" y="2527"/>
                  </a:lnTo>
                  <a:lnTo>
                    <a:pt x="942" y="2447"/>
                  </a:lnTo>
                  <a:lnTo>
                    <a:pt x="882" y="2367"/>
                  </a:lnTo>
                  <a:lnTo>
                    <a:pt x="823" y="2287"/>
                  </a:lnTo>
                  <a:lnTo>
                    <a:pt x="774" y="2218"/>
                  </a:lnTo>
                  <a:lnTo>
                    <a:pt x="731" y="2147"/>
                  </a:lnTo>
                  <a:lnTo>
                    <a:pt x="82" y="2147"/>
                  </a:lnTo>
                  <a:lnTo>
                    <a:pt x="56" y="2144"/>
                  </a:lnTo>
                  <a:lnTo>
                    <a:pt x="33" y="2133"/>
                  </a:lnTo>
                  <a:lnTo>
                    <a:pt x="16" y="2115"/>
                  </a:lnTo>
                  <a:lnTo>
                    <a:pt x="5" y="2092"/>
                  </a:lnTo>
                  <a:lnTo>
                    <a:pt x="0" y="2066"/>
                  </a:lnTo>
                  <a:lnTo>
                    <a:pt x="5" y="2040"/>
                  </a:lnTo>
                  <a:lnTo>
                    <a:pt x="16" y="2017"/>
                  </a:lnTo>
                  <a:lnTo>
                    <a:pt x="33" y="2000"/>
                  </a:lnTo>
                  <a:lnTo>
                    <a:pt x="56" y="1989"/>
                  </a:lnTo>
                  <a:lnTo>
                    <a:pt x="82" y="1984"/>
                  </a:lnTo>
                  <a:lnTo>
                    <a:pt x="635" y="1984"/>
                  </a:lnTo>
                  <a:lnTo>
                    <a:pt x="583" y="1876"/>
                  </a:lnTo>
                  <a:lnTo>
                    <a:pt x="542" y="1771"/>
                  </a:lnTo>
                  <a:lnTo>
                    <a:pt x="508" y="1670"/>
                  </a:lnTo>
                  <a:lnTo>
                    <a:pt x="482" y="1573"/>
                  </a:lnTo>
                  <a:lnTo>
                    <a:pt x="462" y="1478"/>
                  </a:lnTo>
                  <a:lnTo>
                    <a:pt x="451" y="1390"/>
                  </a:lnTo>
                  <a:lnTo>
                    <a:pt x="442" y="1303"/>
                  </a:lnTo>
                  <a:lnTo>
                    <a:pt x="441" y="1222"/>
                  </a:lnTo>
                  <a:lnTo>
                    <a:pt x="444" y="1145"/>
                  </a:lnTo>
                  <a:lnTo>
                    <a:pt x="452" y="1071"/>
                  </a:lnTo>
                  <a:lnTo>
                    <a:pt x="462" y="1002"/>
                  </a:lnTo>
                  <a:lnTo>
                    <a:pt x="475" y="937"/>
                  </a:lnTo>
                  <a:lnTo>
                    <a:pt x="491" y="876"/>
                  </a:lnTo>
                  <a:lnTo>
                    <a:pt x="514" y="806"/>
                  </a:lnTo>
                  <a:lnTo>
                    <a:pt x="542" y="736"/>
                  </a:lnTo>
                  <a:lnTo>
                    <a:pt x="576" y="665"/>
                  </a:lnTo>
                  <a:lnTo>
                    <a:pt x="616" y="597"/>
                  </a:lnTo>
                  <a:lnTo>
                    <a:pt x="660" y="530"/>
                  </a:lnTo>
                  <a:lnTo>
                    <a:pt x="707" y="463"/>
                  </a:lnTo>
                  <a:lnTo>
                    <a:pt x="761" y="399"/>
                  </a:lnTo>
                  <a:lnTo>
                    <a:pt x="820" y="338"/>
                  </a:lnTo>
                  <a:lnTo>
                    <a:pt x="883" y="281"/>
                  </a:lnTo>
                  <a:lnTo>
                    <a:pt x="950" y="227"/>
                  </a:lnTo>
                  <a:lnTo>
                    <a:pt x="1022" y="178"/>
                  </a:lnTo>
                  <a:lnTo>
                    <a:pt x="1099" y="134"/>
                  </a:lnTo>
                  <a:lnTo>
                    <a:pt x="1179" y="96"/>
                  </a:lnTo>
                  <a:lnTo>
                    <a:pt x="1264" y="62"/>
                  </a:lnTo>
                  <a:lnTo>
                    <a:pt x="1352" y="36"/>
                  </a:lnTo>
                  <a:lnTo>
                    <a:pt x="1445" y="16"/>
                  </a:lnTo>
                  <a:lnTo>
                    <a:pt x="1541" y="4"/>
                  </a:lnTo>
                  <a:lnTo>
                    <a:pt x="164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14223364" y="-2835696"/>
              <a:ext cx="3469963" cy="3467847"/>
              <a:chOff x="-7300913" y="-149225"/>
              <a:chExt cx="5207000" cy="5203825"/>
            </a:xfrm>
          </p:grpSpPr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-3133725" y="227013"/>
                <a:ext cx="488950" cy="490538"/>
              </a:xfrm>
              <a:custGeom>
                <a:avLst/>
                <a:gdLst>
                  <a:gd name="T0" fmla="*/ 115 w 616"/>
                  <a:gd name="T1" fmla="*/ 0 h 618"/>
                  <a:gd name="T2" fmla="*/ 145 w 616"/>
                  <a:gd name="T3" fmla="*/ 6 h 618"/>
                  <a:gd name="T4" fmla="*/ 223 w 616"/>
                  <a:gd name="T5" fmla="*/ 40 h 618"/>
                  <a:gd name="T6" fmla="*/ 299 w 616"/>
                  <a:gd name="T7" fmla="*/ 82 h 618"/>
                  <a:gd name="T8" fmla="*/ 367 w 616"/>
                  <a:gd name="T9" fmla="*/ 132 h 618"/>
                  <a:gd name="T10" fmla="*/ 430 w 616"/>
                  <a:gd name="T11" fmla="*/ 188 h 618"/>
                  <a:gd name="T12" fmla="*/ 486 w 616"/>
                  <a:gd name="T13" fmla="*/ 250 h 618"/>
                  <a:gd name="T14" fmla="*/ 536 w 616"/>
                  <a:gd name="T15" fmla="*/ 319 h 618"/>
                  <a:gd name="T16" fmla="*/ 576 w 616"/>
                  <a:gd name="T17" fmla="*/ 393 h 618"/>
                  <a:gd name="T18" fmla="*/ 610 w 616"/>
                  <a:gd name="T19" fmla="*/ 473 h 618"/>
                  <a:gd name="T20" fmla="*/ 616 w 616"/>
                  <a:gd name="T21" fmla="*/ 501 h 618"/>
                  <a:gd name="T22" fmla="*/ 614 w 616"/>
                  <a:gd name="T23" fmla="*/ 531 h 618"/>
                  <a:gd name="T24" fmla="*/ 606 w 616"/>
                  <a:gd name="T25" fmla="*/ 557 h 618"/>
                  <a:gd name="T26" fmla="*/ 590 w 616"/>
                  <a:gd name="T27" fmla="*/ 580 h 618"/>
                  <a:gd name="T28" fmla="*/ 570 w 616"/>
                  <a:gd name="T29" fmla="*/ 598 h 618"/>
                  <a:gd name="T30" fmla="*/ 544 w 616"/>
                  <a:gd name="T31" fmla="*/ 612 h 618"/>
                  <a:gd name="T32" fmla="*/ 506 w 616"/>
                  <a:gd name="T33" fmla="*/ 618 h 618"/>
                  <a:gd name="T34" fmla="*/ 480 w 616"/>
                  <a:gd name="T35" fmla="*/ 616 h 618"/>
                  <a:gd name="T36" fmla="*/ 456 w 616"/>
                  <a:gd name="T37" fmla="*/ 606 h 618"/>
                  <a:gd name="T38" fmla="*/ 434 w 616"/>
                  <a:gd name="T39" fmla="*/ 590 h 618"/>
                  <a:gd name="T40" fmla="*/ 416 w 616"/>
                  <a:gd name="T41" fmla="*/ 570 h 618"/>
                  <a:gd name="T42" fmla="*/ 404 w 616"/>
                  <a:gd name="T43" fmla="*/ 547 h 618"/>
                  <a:gd name="T44" fmla="*/ 377 w 616"/>
                  <a:gd name="T45" fmla="*/ 483 h 618"/>
                  <a:gd name="T46" fmla="*/ 341 w 616"/>
                  <a:gd name="T47" fmla="*/ 423 h 618"/>
                  <a:gd name="T48" fmla="*/ 299 w 616"/>
                  <a:gd name="T49" fmla="*/ 367 h 618"/>
                  <a:gd name="T50" fmla="*/ 249 w 616"/>
                  <a:gd name="T51" fmla="*/ 319 h 618"/>
                  <a:gd name="T52" fmla="*/ 195 w 616"/>
                  <a:gd name="T53" fmla="*/ 275 h 618"/>
                  <a:gd name="T54" fmla="*/ 135 w 616"/>
                  <a:gd name="T55" fmla="*/ 242 h 618"/>
                  <a:gd name="T56" fmla="*/ 71 w 616"/>
                  <a:gd name="T57" fmla="*/ 214 h 618"/>
                  <a:gd name="T58" fmla="*/ 45 w 616"/>
                  <a:gd name="T59" fmla="*/ 200 h 618"/>
                  <a:gd name="T60" fmla="*/ 24 w 616"/>
                  <a:gd name="T61" fmla="*/ 180 h 618"/>
                  <a:gd name="T62" fmla="*/ 10 w 616"/>
                  <a:gd name="T63" fmla="*/ 158 h 618"/>
                  <a:gd name="T64" fmla="*/ 0 w 616"/>
                  <a:gd name="T65" fmla="*/ 130 h 618"/>
                  <a:gd name="T66" fmla="*/ 0 w 616"/>
                  <a:gd name="T67" fmla="*/ 102 h 618"/>
                  <a:gd name="T68" fmla="*/ 6 w 616"/>
                  <a:gd name="T69" fmla="*/ 74 h 618"/>
                  <a:gd name="T70" fmla="*/ 18 w 616"/>
                  <a:gd name="T71" fmla="*/ 48 h 618"/>
                  <a:gd name="T72" fmla="*/ 38 w 616"/>
                  <a:gd name="T73" fmla="*/ 26 h 618"/>
                  <a:gd name="T74" fmla="*/ 61 w 616"/>
                  <a:gd name="T75" fmla="*/ 12 h 618"/>
                  <a:gd name="T76" fmla="*/ 87 w 616"/>
                  <a:gd name="T77" fmla="*/ 2 h 618"/>
                  <a:gd name="T78" fmla="*/ 115 w 616"/>
                  <a:gd name="T79" fmla="*/ 0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16" h="618">
                    <a:moveTo>
                      <a:pt x="115" y="0"/>
                    </a:moveTo>
                    <a:lnTo>
                      <a:pt x="145" y="6"/>
                    </a:lnTo>
                    <a:lnTo>
                      <a:pt x="223" y="40"/>
                    </a:lnTo>
                    <a:lnTo>
                      <a:pt x="299" y="82"/>
                    </a:lnTo>
                    <a:lnTo>
                      <a:pt x="367" y="132"/>
                    </a:lnTo>
                    <a:lnTo>
                      <a:pt x="430" y="188"/>
                    </a:lnTo>
                    <a:lnTo>
                      <a:pt x="486" y="250"/>
                    </a:lnTo>
                    <a:lnTo>
                      <a:pt x="536" y="319"/>
                    </a:lnTo>
                    <a:lnTo>
                      <a:pt x="576" y="393"/>
                    </a:lnTo>
                    <a:lnTo>
                      <a:pt x="610" y="473"/>
                    </a:lnTo>
                    <a:lnTo>
                      <a:pt x="616" y="501"/>
                    </a:lnTo>
                    <a:lnTo>
                      <a:pt x="614" y="531"/>
                    </a:lnTo>
                    <a:lnTo>
                      <a:pt x="606" y="557"/>
                    </a:lnTo>
                    <a:lnTo>
                      <a:pt x="590" y="580"/>
                    </a:lnTo>
                    <a:lnTo>
                      <a:pt x="570" y="598"/>
                    </a:lnTo>
                    <a:lnTo>
                      <a:pt x="544" y="612"/>
                    </a:lnTo>
                    <a:lnTo>
                      <a:pt x="506" y="618"/>
                    </a:lnTo>
                    <a:lnTo>
                      <a:pt x="480" y="616"/>
                    </a:lnTo>
                    <a:lnTo>
                      <a:pt x="456" y="606"/>
                    </a:lnTo>
                    <a:lnTo>
                      <a:pt x="434" y="590"/>
                    </a:lnTo>
                    <a:lnTo>
                      <a:pt x="416" y="570"/>
                    </a:lnTo>
                    <a:lnTo>
                      <a:pt x="404" y="547"/>
                    </a:lnTo>
                    <a:lnTo>
                      <a:pt x="377" y="483"/>
                    </a:lnTo>
                    <a:lnTo>
                      <a:pt x="341" y="423"/>
                    </a:lnTo>
                    <a:lnTo>
                      <a:pt x="299" y="367"/>
                    </a:lnTo>
                    <a:lnTo>
                      <a:pt x="249" y="319"/>
                    </a:lnTo>
                    <a:lnTo>
                      <a:pt x="195" y="275"/>
                    </a:lnTo>
                    <a:lnTo>
                      <a:pt x="135" y="242"/>
                    </a:lnTo>
                    <a:lnTo>
                      <a:pt x="71" y="214"/>
                    </a:lnTo>
                    <a:lnTo>
                      <a:pt x="45" y="200"/>
                    </a:lnTo>
                    <a:lnTo>
                      <a:pt x="24" y="180"/>
                    </a:lnTo>
                    <a:lnTo>
                      <a:pt x="10" y="158"/>
                    </a:lnTo>
                    <a:lnTo>
                      <a:pt x="0" y="130"/>
                    </a:lnTo>
                    <a:lnTo>
                      <a:pt x="0" y="102"/>
                    </a:lnTo>
                    <a:lnTo>
                      <a:pt x="6" y="74"/>
                    </a:lnTo>
                    <a:lnTo>
                      <a:pt x="18" y="48"/>
                    </a:lnTo>
                    <a:lnTo>
                      <a:pt x="38" y="26"/>
                    </a:lnTo>
                    <a:lnTo>
                      <a:pt x="61" y="12"/>
                    </a:lnTo>
                    <a:lnTo>
                      <a:pt x="87" y="2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1" name="Freeform 12"/>
              <p:cNvSpPr>
                <a:spLocks/>
              </p:cNvSpPr>
              <p:nvPr/>
            </p:nvSpPr>
            <p:spPr bwMode="auto">
              <a:xfrm>
                <a:off x="-5391150" y="-149225"/>
                <a:ext cx="3122613" cy="2949575"/>
              </a:xfrm>
              <a:custGeom>
                <a:avLst/>
                <a:gdLst>
                  <a:gd name="T0" fmla="*/ 1496 w 3936"/>
                  <a:gd name="T1" fmla="*/ 36 h 3716"/>
                  <a:gd name="T2" fmla="*/ 1730 w 3936"/>
                  <a:gd name="T3" fmla="*/ 136 h 3716"/>
                  <a:gd name="T4" fmla="*/ 1742 w 3936"/>
                  <a:gd name="T5" fmla="*/ 245 h 3716"/>
                  <a:gd name="T6" fmla="*/ 1654 w 3936"/>
                  <a:gd name="T7" fmla="*/ 309 h 3716"/>
                  <a:gd name="T8" fmla="*/ 1405 w 3936"/>
                  <a:gd name="T9" fmla="*/ 239 h 3716"/>
                  <a:gd name="T10" fmla="*/ 992 w 3936"/>
                  <a:gd name="T11" fmla="*/ 241 h 3716"/>
                  <a:gd name="T12" fmla="*/ 623 w 3936"/>
                  <a:gd name="T13" fmla="*/ 409 h 3716"/>
                  <a:gd name="T14" fmla="*/ 353 w 3936"/>
                  <a:gd name="T15" fmla="*/ 706 h 3716"/>
                  <a:gd name="T16" fmla="*/ 224 w 3936"/>
                  <a:gd name="T17" fmla="*/ 1094 h 3716"/>
                  <a:gd name="T18" fmla="*/ 262 w 3936"/>
                  <a:gd name="T19" fmla="*/ 1513 h 3716"/>
                  <a:gd name="T20" fmla="*/ 449 w 3936"/>
                  <a:gd name="T21" fmla="*/ 1981 h 3716"/>
                  <a:gd name="T22" fmla="*/ 776 w 3936"/>
                  <a:gd name="T23" fmla="*/ 2474 h 3716"/>
                  <a:gd name="T24" fmla="*/ 1233 w 3936"/>
                  <a:gd name="T25" fmla="*/ 2954 h 3716"/>
                  <a:gd name="T26" fmla="*/ 1807 w 3936"/>
                  <a:gd name="T27" fmla="*/ 3385 h 3716"/>
                  <a:gd name="T28" fmla="*/ 2430 w 3936"/>
                  <a:gd name="T29" fmla="*/ 3177 h 3716"/>
                  <a:gd name="T30" fmla="*/ 2946 w 3936"/>
                  <a:gd name="T31" fmla="*/ 2719 h 3716"/>
                  <a:gd name="T32" fmla="*/ 3339 w 3936"/>
                  <a:gd name="T33" fmla="*/ 2227 h 3716"/>
                  <a:gd name="T34" fmla="*/ 3599 w 3936"/>
                  <a:gd name="T35" fmla="*/ 1742 h 3716"/>
                  <a:gd name="T36" fmla="*/ 3712 w 3936"/>
                  <a:gd name="T37" fmla="*/ 1302 h 3716"/>
                  <a:gd name="T38" fmla="*/ 3666 w 3936"/>
                  <a:gd name="T39" fmla="*/ 891 h 3716"/>
                  <a:gd name="T40" fmla="*/ 3463 w 3936"/>
                  <a:gd name="T41" fmla="*/ 544 h 3716"/>
                  <a:gd name="T42" fmla="*/ 3140 w 3936"/>
                  <a:gd name="T43" fmla="*/ 307 h 3716"/>
                  <a:gd name="T44" fmla="*/ 2733 w 3936"/>
                  <a:gd name="T45" fmla="*/ 219 h 3716"/>
                  <a:gd name="T46" fmla="*/ 2338 w 3936"/>
                  <a:gd name="T47" fmla="*/ 303 h 3716"/>
                  <a:gd name="T48" fmla="*/ 2011 w 3936"/>
                  <a:gd name="T49" fmla="*/ 534 h 3716"/>
                  <a:gd name="T50" fmla="*/ 1825 w 3936"/>
                  <a:gd name="T51" fmla="*/ 811 h 3716"/>
                  <a:gd name="T52" fmla="*/ 1724 w 3936"/>
                  <a:gd name="T53" fmla="*/ 849 h 3716"/>
                  <a:gd name="T54" fmla="*/ 1640 w 3936"/>
                  <a:gd name="T55" fmla="*/ 779 h 3716"/>
                  <a:gd name="T56" fmla="*/ 1696 w 3936"/>
                  <a:gd name="T57" fmla="*/ 592 h 3716"/>
                  <a:gd name="T58" fmla="*/ 1995 w 3936"/>
                  <a:gd name="T59" fmla="*/ 255 h 3716"/>
                  <a:gd name="T60" fmla="*/ 2394 w 3936"/>
                  <a:gd name="T61" fmla="*/ 50 h 3716"/>
                  <a:gd name="T62" fmla="*/ 2857 w 3936"/>
                  <a:gd name="T63" fmla="*/ 6 h 3716"/>
                  <a:gd name="T64" fmla="*/ 3305 w 3936"/>
                  <a:gd name="T65" fmla="*/ 145 h 3716"/>
                  <a:gd name="T66" fmla="*/ 3660 w 3936"/>
                  <a:gd name="T67" fmla="*/ 439 h 3716"/>
                  <a:gd name="T68" fmla="*/ 3882 w 3936"/>
                  <a:gd name="T69" fmla="*/ 845 h 3716"/>
                  <a:gd name="T70" fmla="*/ 3932 w 3936"/>
                  <a:gd name="T71" fmla="*/ 1306 h 3716"/>
                  <a:gd name="T72" fmla="*/ 3824 w 3936"/>
                  <a:gd name="T73" fmla="*/ 1764 h 3716"/>
                  <a:gd name="T74" fmla="*/ 3575 w 3936"/>
                  <a:gd name="T75" fmla="*/ 2268 h 3716"/>
                  <a:gd name="T76" fmla="*/ 3188 w 3936"/>
                  <a:gd name="T77" fmla="*/ 2783 h 3716"/>
                  <a:gd name="T78" fmla="*/ 2669 w 3936"/>
                  <a:gd name="T79" fmla="*/ 3273 h 3716"/>
                  <a:gd name="T80" fmla="*/ 2021 w 3936"/>
                  <a:gd name="T81" fmla="*/ 3702 h 3716"/>
                  <a:gd name="T82" fmla="*/ 1915 w 3936"/>
                  <a:gd name="T83" fmla="*/ 3702 h 3716"/>
                  <a:gd name="T84" fmla="*/ 1267 w 3936"/>
                  <a:gd name="T85" fmla="*/ 3273 h 3716"/>
                  <a:gd name="T86" fmla="*/ 748 w 3936"/>
                  <a:gd name="T87" fmla="*/ 2783 h 3716"/>
                  <a:gd name="T88" fmla="*/ 361 w 3936"/>
                  <a:gd name="T89" fmla="*/ 2268 h 3716"/>
                  <a:gd name="T90" fmla="*/ 112 w 3936"/>
                  <a:gd name="T91" fmla="*/ 1764 h 3716"/>
                  <a:gd name="T92" fmla="*/ 4 w 3936"/>
                  <a:gd name="T93" fmla="*/ 1306 h 3716"/>
                  <a:gd name="T94" fmla="*/ 54 w 3936"/>
                  <a:gd name="T95" fmla="*/ 845 h 3716"/>
                  <a:gd name="T96" fmla="*/ 276 w 3936"/>
                  <a:gd name="T97" fmla="*/ 439 h 3716"/>
                  <a:gd name="T98" fmla="*/ 631 w 3936"/>
                  <a:gd name="T99" fmla="*/ 145 h 3716"/>
                  <a:gd name="T100" fmla="*/ 1079 w 3936"/>
                  <a:gd name="T101" fmla="*/ 6 h 3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36" h="3716">
                    <a:moveTo>
                      <a:pt x="1203" y="0"/>
                    </a:moveTo>
                    <a:lnTo>
                      <a:pt x="1303" y="4"/>
                    </a:lnTo>
                    <a:lnTo>
                      <a:pt x="1401" y="16"/>
                    </a:lnTo>
                    <a:lnTo>
                      <a:pt x="1496" y="36"/>
                    </a:lnTo>
                    <a:lnTo>
                      <a:pt x="1592" y="64"/>
                    </a:lnTo>
                    <a:lnTo>
                      <a:pt x="1684" y="100"/>
                    </a:lnTo>
                    <a:lnTo>
                      <a:pt x="1710" y="116"/>
                    </a:lnTo>
                    <a:lnTo>
                      <a:pt x="1730" y="136"/>
                    </a:lnTo>
                    <a:lnTo>
                      <a:pt x="1742" y="161"/>
                    </a:lnTo>
                    <a:lnTo>
                      <a:pt x="1750" y="187"/>
                    </a:lnTo>
                    <a:lnTo>
                      <a:pt x="1750" y="217"/>
                    </a:lnTo>
                    <a:lnTo>
                      <a:pt x="1742" y="245"/>
                    </a:lnTo>
                    <a:lnTo>
                      <a:pt x="1726" y="269"/>
                    </a:lnTo>
                    <a:lnTo>
                      <a:pt x="1706" y="289"/>
                    </a:lnTo>
                    <a:lnTo>
                      <a:pt x="1680" y="303"/>
                    </a:lnTo>
                    <a:lnTo>
                      <a:pt x="1654" y="309"/>
                    </a:lnTo>
                    <a:lnTo>
                      <a:pt x="1626" y="309"/>
                    </a:lnTo>
                    <a:lnTo>
                      <a:pt x="1596" y="301"/>
                    </a:lnTo>
                    <a:lnTo>
                      <a:pt x="1502" y="265"/>
                    </a:lnTo>
                    <a:lnTo>
                      <a:pt x="1405" y="239"/>
                    </a:lnTo>
                    <a:lnTo>
                      <a:pt x="1305" y="223"/>
                    </a:lnTo>
                    <a:lnTo>
                      <a:pt x="1203" y="219"/>
                    </a:lnTo>
                    <a:lnTo>
                      <a:pt x="1095" y="225"/>
                    </a:lnTo>
                    <a:lnTo>
                      <a:pt x="992" y="241"/>
                    </a:lnTo>
                    <a:lnTo>
                      <a:pt x="892" y="269"/>
                    </a:lnTo>
                    <a:lnTo>
                      <a:pt x="796" y="307"/>
                    </a:lnTo>
                    <a:lnTo>
                      <a:pt x="706" y="353"/>
                    </a:lnTo>
                    <a:lnTo>
                      <a:pt x="623" y="409"/>
                    </a:lnTo>
                    <a:lnTo>
                      <a:pt x="543" y="472"/>
                    </a:lnTo>
                    <a:lnTo>
                      <a:pt x="473" y="544"/>
                    </a:lnTo>
                    <a:lnTo>
                      <a:pt x="409" y="622"/>
                    </a:lnTo>
                    <a:lnTo>
                      <a:pt x="353" y="706"/>
                    </a:lnTo>
                    <a:lnTo>
                      <a:pt x="306" y="797"/>
                    </a:lnTo>
                    <a:lnTo>
                      <a:pt x="270" y="891"/>
                    </a:lnTo>
                    <a:lnTo>
                      <a:pt x="242" y="991"/>
                    </a:lnTo>
                    <a:lnTo>
                      <a:pt x="224" y="1094"/>
                    </a:lnTo>
                    <a:lnTo>
                      <a:pt x="220" y="1202"/>
                    </a:lnTo>
                    <a:lnTo>
                      <a:pt x="224" y="1302"/>
                    </a:lnTo>
                    <a:lnTo>
                      <a:pt x="238" y="1405"/>
                    </a:lnTo>
                    <a:lnTo>
                      <a:pt x="262" y="1513"/>
                    </a:lnTo>
                    <a:lnTo>
                      <a:pt x="296" y="1627"/>
                    </a:lnTo>
                    <a:lnTo>
                      <a:pt x="337" y="1742"/>
                    </a:lnTo>
                    <a:lnTo>
                      <a:pt x="389" y="1860"/>
                    </a:lnTo>
                    <a:lnTo>
                      <a:pt x="449" y="1981"/>
                    </a:lnTo>
                    <a:lnTo>
                      <a:pt x="519" y="2103"/>
                    </a:lnTo>
                    <a:lnTo>
                      <a:pt x="597" y="2227"/>
                    </a:lnTo>
                    <a:lnTo>
                      <a:pt x="683" y="2350"/>
                    </a:lnTo>
                    <a:lnTo>
                      <a:pt x="776" y="2474"/>
                    </a:lnTo>
                    <a:lnTo>
                      <a:pt x="878" y="2597"/>
                    </a:lnTo>
                    <a:lnTo>
                      <a:pt x="990" y="2719"/>
                    </a:lnTo>
                    <a:lnTo>
                      <a:pt x="1107" y="2836"/>
                    </a:lnTo>
                    <a:lnTo>
                      <a:pt x="1233" y="2954"/>
                    </a:lnTo>
                    <a:lnTo>
                      <a:pt x="1365" y="3068"/>
                    </a:lnTo>
                    <a:lnTo>
                      <a:pt x="1506" y="3177"/>
                    </a:lnTo>
                    <a:lnTo>
                      <a:pt x="1652" y="3285"/>
                    </a:lnTo>
                    <a:lnTo>
                      <a:pt x="1807" y="3385"/>
                    </a:lnTo>
                    <a:lnTo>
                      <a:pt x="1969" y="3480"/>
                    </a:lnTo>
                    <a:lnTo>
                      <a:pt x="2129" y="3385"/>
                    </a:lnTo>
                    <a:lnTo>
                      <a:pt x="2284" y="3285"/>
                    </a:lnTo>
                    <a:lnTo>
                      <a:pt x="2430" y="3177"/>
                    </a:lnTo>
                    <a:lnTo>
                      <a:pt x="2571" y="3068"/>
                    </a:lnTo>
                    <a:lnTo>
                      <a:pt x="2703" y="2954"/>
                    </a:lnTo>
                    <a:lnTo>
                      <a:pt x="2829" y="2836"/>
                    </a:lnTo>
                    <a:lnTo>
                      <a:pt x="2946" y="2719"/>
                    </a:lnTo>
                    <a:lnTo>
                      <a:pt x="3058" y="2597"/>
                    </a:lnTo>
                    <a:lnTo>
                      <a:pt x="3160" y="2474"/>
                    </a:lnTo>
                    <a:lnTo>
                      <a:pt x="3253" y="2350"/>
                    </a:lnTo>
                    <a:lnTo>
                      <a:pt x="3339" y="2227"/>
                    </a:lnTo>
                    <a:lnTo>
                      <a:pt x="3417" y="2103"/>
                    </a:lnTo>
                    <a:lnTo>
                      <a:pt x="3487" y="1981"/>
                    </a:lnTo>
                    <a:lnTo>
                      <a:pt x="3547" y="1860"/>
                    </a:lnTo>
                    <a:lnTo>
                      <a:pt x="3599" y="1742"/>
                    </a:lnTo>
                    <a:lnTo>
                      <a:pt x="3640" y="1627"/>
                    </a:lnTo>
                    <a:lnTo>
                      <a:pt x="3674" y="1513"/>
                    </a:lnTo>
                    <a:lnTo>
                      <a:pt x="3698" y="1405"/>
                    </a:lnTo>
                    <a:lnTo>
                      <a:pt x="3712" y="1302"/>
                    </a:lnTo>
                    <a:lnTo>
                      <a:pt x="3718" y="1202"/>
                    </a:lnTo>
                    <a:lnTo>
                      <a:pt x="3712" y="1094"/>
                    </a:lnTo>
                    <a:lnTo>
                      <a:pt x="3694" y="991"/>
                    </a:lnTo>
                    <a:lnTo>
                      <a:pt x="3666" y="891"/>
                    </a:lnTo>
                    <a:lnTo>
                      <a:pt x="3630" y="797"/>
                    </a:lnTo>
                    <a:lnTo>
                      <a:pt x="3583" y="706"/>
                    </a:lnTo>
                    <a:lnTo>
                      <a:pt x="3527" y="622"/>
                    </a:lnTo>
                    <a:lnTo>
                      <a:pt x="3463" y="544"/>
                    </a:lnTo>
                    <a:lnTo>
                      <a:pt x="3393" y="472"/>
                    </a:lnTo>
                    <a:lnTo>
                      <a:pt x="3313" y="409"/>
                    </a:lnTo>
                    <a:lnTo>
                      <a:pt x="3230" y="353"/>
                    </a:lnTo>
                    <a:lnTo>
                      <a:pt x="3140" y="307"/>
                    </a:lnTo>
                    <a:lnTo>
                      <a:pt x="3044" y="269"/>
                    </a:lnTo>
                    <a:lnTo>
                      <a:pt x="2944" y="241"/>
                    </a:lnTo>
                    <a:lnTo>
                      <a:pt x="2841" y="225"/>
                    </a:lnTo>
                    <a:lnTo>
                      <a:pt x="2733" y="219"/>
                    </a:lnTo>
                    <a:lnTo>
                      <a:pt x="2631" y="225"/>
                    </a:lnTo>
                    <a:lnTo>
                      <a:pt x="2529" y="241"/>
                    </a:lnTo>
                    <a:lnTo>
                      <a:pt x="2432" y="267"/>
                    </a:lnTo>
                    <a:lnTo>
                      <a:pt x="2338" y="303"/>
                    </a:lnTo>
                    <a:lnTo>
                      <a:pt x="2248" y="347"/>
                    </a:lnTo>
                    <a:lnTo>
                      <a:pt x="2162" y="401"/>
                    </a:lnTo>
                    <a:lnTo>
                      <a:pt x="2085" y="464"/>
                    </a:lnTo>
                    <a:lnTo>
                      <a:pt x="2011" y="534"/>
                    </a:lnTo>
                    <a:lnTo>
                      <a:pt x="1947" y="612"/>
                    </a:lnTo>
                    <a:lnTo>
                      <a:pt x="1889" y="696"/>
                    </a:lnTo>
                    <a:lnTo>
                      <a:pt x="1841" y="787"/>
                    </a:lnTo>
                    <a:lnTo>
                      <a:pt x="1825" y="811"/>
                    </a:lnTo>
                    <a:lnTo>
                      <a:pt x="1803" y="831"/>
                    </a:lnTo>
                    <a:lnTo>
                      <a:pt x="1780" y="843"/>
                    </a:lnTo>
                    <a:lnTo>
                      <a:pt x="1752" y="849"/>
                    </a:lnTo>
                    <a:lnTo>
                      <a:pt x="1724" y="849"/>
                    </a:lnTo>
                    <a:lnTo>
                      <a:pt x="1696" y="841"/>
                    </a:lnTo>
                    <a:lnTo>
                      <a:pt x="1672" y="825"/>
                    </a:lnTo>
                    <a:lnTo>
                      <a:pt x="1652" y="803"/>
                    </a:lnTo>
                    <a:lnTo>
                      <a:pt x="1640" y="779"/>
                    </a:lnTo>
                    <a:lnTo>
                      <a:pt x="1634" y="751"/>
                    </a:lnTo>
                    <a:lnTo>
                      <a:pt x="1634" y="724"/>
                    </a:lnTo>
                    <a:lnTo>
                      <a:pt x="1642" y="696"/>
                    </a:lnTo>
                    <a:lnTo>
                      <a:pt x="1696" y="592"/>
                    </a:lnTo>
                    <a:lnTo>
                      <a:pt x="1760" y="496"/>
                    </a:lnTo>
                    <a:lnTo>
                      <a:pt x="1831" y="409"/>
                    </a:lnTo>
                    <a:lnTo>
                      <a:pt x="1909" y="327"/>
                    </a:lnTo>
                    <a:lnTo>
                      <a:pt x="1995" y="255"/>
                    </a:lnTo>
                    <a:lnTo>
                      <a:pt x="2087" y="189"/>
                    </a:lnTo>
                    <a:lnTo>
                      <a:pt x="2184" y="134"/>
                    </a:lnTo>
                    <a:lnTo>
                      <a:pt x="2288" y="86"/>
                    </a:lnTo>
                    <a:lnTo>
                      <a:pt x="2394" y="50"/>
                    </a:lnTo>
                    <a:lnTo>
                      <a:pt x="2504" y="22"/>
                    </a:lnTo>
                    <a:lnTo>
                      <a:pt x="2617" y="6"/>
                    </a:lnTo>
                    <a:lnTo>
                      <a:pt x="2733" y="0"/>
                    </a:lnTo>
                    <a:lnTo>
                      <a:pt x="2857" y="6"/>
                    </a:lnTo>
                    <a:lnTo>
                      <a:pt x="2976" y="24"/>
                    </a:lnTo>
                    <a:lnTo>
                      <a:pt x="3090" y="54"/>
                    </a:lnTo>
                    <a:lnTo>
                      <a:pt x="3202" y="96"/>
                    </a:lnTo>
                    <a:lnTo>
                      <a:pt x="3305" y="145"/>
                    </a:lnTo>
                    <a:lnTo>
                      <a:pt x="3405" y="205"/>
                    </a:lnTo>
                    <a:lnTo>
                      <a:pt x="3499" y="275"/>
                    </a:lnTo>
                    <a:lnTo>
                      <a:pt x="3583" y="353"/>
                    </a:lnTo>
                    <a:lnTo>
                      <a:pt x="3660" y="439"/>
                    </a:lnTo>
                    <a:lnTo>
                      <a:pt x="3730" y="530"/>
                    </a:lnTo>
                    <a:lnTo>
                      <a:pt x="3790" y="630"/>
                    </a:lnTo>
                    <a:lnTo>
                      <a:pt x="3842" y="736"/>
                    </a:lnTo>
                    <a:lnTo>
                      <a:pt x="3882" y="845"/>
                    </a:lnTo>
                    <a:lnTo>
                      <a:pt x="3912" y="961"/>
                    </a:lnTo>
                    <a:lnTo>
                      <a:pt x="3930" y="1080"/>
                    </a:lnTo>
                    <a:lnTo>
                      <a:pt x="3936" y="1202"/>
                    </a:lnTo>
                    <a:lnTo>
                      <a:pt x="3932" y="1306"/>
                    </a:lnTo>
                    <a:lnTo>
                      <a:pt x="3918" y="1413"/>
                    </a:lnTo>
                    <a:lnTo>
                      <a:pt x="3896" y="1527"/>
                    </a:lnTo>
                    <a:lnTo>
                      <a:pt x="3864" y="1644"/>
                    </a:lnTo>
                    <a:lnTo>
                      <a:pt x="3824" y="1764"/>
                    </a:lnTo>
                    <a:lnTo>
                      <a:pt x="3774" y="1888"/>
                    </a:lnTo>
                    <a:lnTo>
                      <a:pt x="3716" y="2013"/>
                    </a:lnTo>
                    <a:lnTo>
                      <a:pt x="3648" y="2141"/>
                    </a:lnTo>
                    <a:lnTo>
                      <a:pt x="3575" y="2268"/>
                    </a:lnTo>
                    <a:lnTo>
                      <a:pt x="3491" y="2398"/>
                    </a:lnTo>
                    <a:lnTo>
                      <a:pt x="3397" y="2528"/>
                    </a:lnTo>
                    <a:lnTo>
                      <a:pt x="3297" y="2655"/>
                    </a:lnTo>
                    <a:lnTo>
                      <a:pt x="3188" y="2783"/>
                    </a:lnTo>
                    <a:lnTo>
                      <a:pt x="3070" y="2908"/>
                    </a:lnTo>
                    <a:lnTo>
                      <a:pt x="2944" y="3034"/>
                    </a:lnTo>
                    <a:lnTo>
                      <a:pt x="2811" y="3153"/>
                    </a:lnTo>
                    <a:lnTo>
                      <a:pt x="2669" y="3273"/>
                    </a:lnTo>
                    <a:lnTo>
                      <a:pt x="2518" y="3387"/>
                    </a:lnTo>
                    <a:lnTo>
                      <a:pt x="2360" y="3496"/>
                    </a:lnTo>
                    <a:lnTo>
                      <a:pt x="2194" y="3602"/>
                    </a:lnTo>
                    <a:lnTo>
                      <a:pt x="2021" y="3702"/>
                    </a:lnTo>
                    <a:lnTo>
                      <a:pt x="1995" y="3712"/>
                    </a:lnTo>
                    <a:lnTo>
                      <a:pt x="1969" y="3716"/>
                    </a:lnTo>
                    <a:lnTo>
                      <a:pt x="1941" y="3712"/>
                    </a:lnTo>
                    <a:lnTo>
                      <a:pt x="1915" y="3702"/>
                    </a:lnTo>
                    <a:lnTo>
                      <a:pt x="1742" y="3602"/>
                    </a:lnTo>
                    <a:lnTo>
                      <a:pt x="1576" y="3496"/>
                    </a:lnTo>
                    <a:lnTo>
                      <a:pt x="1419" y="3387"/>
                    </a:lnTo>
                    <a:lnTo>
                      <a:pt x="1267" y="3273"/>
                    </a:lnTo>
                    <a:lnTo>
                      <a:pt x="1125" y="3153"/>
                    </a:lnTo>
                    <a:lnTo>
                      <a:pt x="992" y="3034"/>
                    </a:lnTo>
                    <a:lnTo>
                      <a:pt x="866" y="2908"/>
                    </a:lnTo>
                    <a:lnTo>
                      <a:pt x="748" y="2783"/>
                    </a:lnTo>
                    <a:lnTo>
                      <a:pt x="639" y="2655"/>
                    </a:lnTo>
                    <a:lnTo>
                      <a:pt x="539" y="2528"/>
                    </a:lnTo>
                    <a:lnTo>
                      <a:pt x="447" y="2398"/>
                    </a:lnTo>
                    <a:lnTo>
                      <a:pt x="361" y="2268"/>
                    </a:lnTo>
                    <a:lnTo>
                      <a:pt x="288" y="2141"/>
                    </a:lnTo>
                    <a:lnTo>
                      <a:pt x="220" y="2013"/>
                    </a:lnTo>
                    <a:lnTo>
                      <a:pt x="162" y="1888"/>
                    </a:lnTo>
                    <a:lnTo>
                      <a:pt x="112" y="1764"/>
                    </a:lnTo>
                    <a:lnTo>
                      <a:pt x="72" y="1644"/>
                    </a:lnTo>
                    <a:lnTo>
                      <a:pt x="40" y="1527"/>
                    </a:lnTo>
                    <a:lnTo>
                      <a:pt x="18" y="1413"/>
                    </a:lnTo>
                    <a:lnTo>
                      <a:pt x="4" y="1306"/>
                    </a:lnTo>
                    <a:lnTo>
                      <a:pt x="0" y="1202"/>
                    </a:lnTo>
                    <a:lnTo>
                      <a:pt x="6" y="1080"/>
                    </a:lnTo>
                    <a:lnTo>
                      <a:pt x="24" y="961"/>
                    </a:lnTo>
                    <a:lnTo>
                      <a:pt x="54" y="845"/>
                    </a:lnTo>
                    <a:lnTo>
                      <a:pt x="94" y="736"/>
                    </a:lnTo>
                    <a:lnTo>
                      <a:pt x="146" y="630"/>
                    </a:lnTo>
                    <a:lnTo>
                      <a:pt x="206" y="530"/>
                    </a:lnTo>
                    <a:lnTo>
                      <a:pt x="276" y="439"/>
                    </a:lnTo>
                    <a:lnTo>
                      <a:pt x="353" y="353"/>
                    </a:lnTo>
                    <a:lnTo>
                      <a:pt x="439" y="275"/>
                    </a:lnTo>
                    <a:lnTo>
                      <a:pt x="531" y="205"/>
                    </a:lnTo>
                    <a:lnTo>
                      <a:pt x="631" y="145"/>
                    </a:lnTo>
                    <a:lnTo>
                      <a:pt x="734" y="96"/>
                    </a:lnTo>
                    <a:lnTo>
                      <a:pt x="846" y="54"/>
                    </a:lnTo>
                    <a:lnTo>
                      <a:pt x="960" y="24"/>
                    </a:lnTo>
                    <a:lnTo>
                      <a:pt x="1079" y="6"/>
                    </a:lnTo>
                    <a:lnTo>
                      <a:pt x="1203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2" name="Freeform 13"/>
              <p:cNvSpPr>
                <a:spLocks/>
              </p:cNvSpPr>
              <p:nvPr/>
            </p:nvSpPr>
            <p:spPr bwMode="auto">
              <a:xfrm>
                <a:off x="-6259513" y="2971800"/>
                <a:ext cx="2603500" cy="782638"/>
              </a:xfrm>
              <a:custGeom>
                <a:avLst/>
                <a:gdLst>
                  <a:gd name="T0" fmla="*/ 984 w 3279"/>
                  <a:gd name="T1" fmla="*/ 0 h 985"/>
                  <a:gd name="T2" fmla="*/ 1121 w 3279"/>
                  <a:gd name="T3" fmla="*/ 24 h 985"/>
                  <a:gd name="T4" fmla="*/ 1265 w 3279"/>
                  <a:gd name="T5" fmla="*/ 88 h 985"/>
                  <a:gd name="T6" fmla="*/ 1417 w 3279"/>
                  <a:gd name="T7" fmla="*/ 179 h 985"/>
                  <a:gd name="T8" fmla="*/ 1572 w 3279"/>
                  <a:gd name="T9" fmla="*/ 291 h 985"/>
                  <a:gd name="T10" fmla="*/ 1710 w 3279"/>
                  <a:gd name="T11" fmla="*/ 395 h 985"/>
                  <a:gd name="T12" fmla="*/ 1827 w 3279"/>
                  <a:gd name="T13" fmla="*/ 480 h 985"/>
                  <a:gd name="T14" fmla="*/ 1943 w 3279"/>
                  <a:gd name="T15" fmla="*/ 558 h 985"/>
                  <a:gd name="T16" fmla="*/ 2051 w 3279"/>
                  <a:gd name="T17" fmla="*/ 618 h 985"/>
                  <a:gd name="T18" fmla="*/ 2147 w 3279"/>
                  <a:gd name="T19" fmla="*/ 652 h 985"/>
                  <a:gd name="T20" fmla="*/ 2843 w 3279"/>
                  <a:gd name="T21" fmla="*/ 656 h 985"/>
                  <a:gd name="T22" fmla="*/ 2982 w 3279"/>
                  <a:gd name="T23" fmla="*/ 670 h 985"/>
                  <a:gd name="T24" fmla="*/ 3092 w 3279"/>
                  <a:gd name="T25" fmla="*/ 701 h 985"/>
                  <a:gd name="T26" fmla="*/ 3172 w 3279"/>
                  <a:gd name="T27" fmla="*/ 741 h 985"/>
                  <a:gd name="T28" fmla="*/ 3224 w 3279"/>
                  <a:gd name="T29" fmla="*/ 777 h 985"/>
                  <a:gd name="T30" fmla="*/ 3248 w 3279"/>
                  <a:gd name="T31" fmla="*/ 797 h 985"/>
                  <a:gd name="T32" fmla="*/ 3275 w 3279"/>
                  <a:gd name="T33" fmla="*/ 847 h 985"/>
                  <a:gd name="T34" fmla="*/ 3275 w 3279"/>
                  <a:gd name="T35" fmla="*/ 903 h 985"/>
                  <a:gd name="T36" fmla="*/ 3248 w 3279"/>
                  <a:gd name="T37" fmla="*/ 953 h 985"/>
                  <a:gd name="T38" fmla="*/ 3198 w 3279"/>
                  <a:gd name="T39" fmla="*/ 981 h 985"/>
                  <a:gd name="T40" fmla="*/ 3142 w 3279"/>
                  <a:gd name="T41" fmla="*/ 981 h 985"/>
                  <a:gd name="T42" fmla="*/ 3094 w 3279"/>
                  <a:gd name="T43" fmla="*/ 953 h 985"/>
                  <a:gd name="T44" fmla="*/ 3076 w 3279"/>
                  <a:gd name="T45" fmla="*/ 939 h 985"/>
                  <a:gd name="T46" fmla="*/ 3030 w 3279"/>
                  <a:gd name="T47" fmla="*/ 913 h 985"/>
                  <a:gd name="T48" fmla="*/ 2950 w 3279"/>
                  <a:gd name="T49" fmla="*/ 887 h 985"/>
                  <a:gd name="T50" fmla="*/ 2843 w 3279"/>
                  <a:gd name="T51" fmla="*/ 875 h 985"/>
                  <a:gd name="T52" fmla="*/ 2119 w 3279"/>
                  <a:gd name="T53" fmla="*/ 869 h 985"/>
                  <a:gd name="T54" fmla="*/ 1977 w 3279"/>
                  <a:gd name="T55" fmla="*/ 825 h 985"/>
                  <a:gd name="T56" fmla="*/ 1829 w 3279"/>
                  <a:gd name="T57" fmla="*/ 745 h 985"/>
                  <a:gd name="T58" fmla="*/ 1678 w 3279"/>
                  <a:gd name="T59" fmla="*/ 642 h 985"/>
                  <a:gd name="T60" fmla="*/ 1520 w 3279"/>
                  <a:gd name="T61" fmla="*/ 526 h 985"/>
                  <a:gd name="T62" fmla="*/ 1403 w 3279"/>
                  <a:gd name="T63" fmla="*/ 438 h 985"/>
                  <a:gd name="T64" fmla="*/ 1285 w 3279"/>
                  <a:gd name="T65" fmla="*/ 355 h 985"/>
                  <a:gd name="T66" fmla="*/ 1173 w 3279"/>
                  <a:gd name="T67" fmla="*/ 285 h 985"/>
                  <a:gd name="T68" fmla="*/ 1069 w 3279"/>
                  <a:gd name="T69" fmla="*/ 237 h 985"/>
                  <a:gd name="T70" fmla="*/ 984 w 3279"/>
                  <a:gd name="T71" fmla="*/ 219 h 985"/>
                  <a:gd name="T72" fmla="*/ 74 w 3279"/>
                  <a:gd name="T73" fmla="*/ 213 h 985"/>
                  <a:gd name="T74" fmla="*/ 20 w 3279"/>
                  <a:gd name="T75" fmla="*/ 175 h 985"/>
                  <a:gd name="T76" fmla="*/ 0 w 3279"/>
                  <a:gd name="T77" fmla="*/ 109 h 985"/>
                  <a:gd name="T78" fmla="*/ 20 w 3279"/>
                  <a:gd name="T79" fmla="*/ 46 h 985"/>
                  <a:gd name="T80" fmla="*/ 74 w 3279"/>
                  <a:gd name="T81" fmla="*/ 6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79" h="985">
                    <a:moveTo>
                      <a:pt x="110" y="0"/>
                    </a:moveTo>
                    <a:lnTo>
                      <a:pt x="984" y="0"/>
                    </a:lnTo>
                    <a:lnTo>
                      <a:pt x="1052" y="6"/>
                    </a:lnTo>
                    <a:lnTo>
                      <a:pt x="1121" y="24"/>
                    </a:lnTo>
                    <a:lnTo>
                      <a:pt x="1193" y="52"/>
                    </a:lnTo>
                    <a:lnTo>
                      <a:pt x="1265" y="88"/>
                    </a:lnTo>
                    <a:lnTo>
                      <a:pt x="1341" y="131"/>
                    </a:lnTo>
                    <a:lnTo>
                      <a:pt x="1417" y="179"/>
                    </a:lnTo>
                    <a:lnTo>
                      <a:pt x="1492" y="233"/>
                    </a:lnTo>
                    <a:lnTo>
                      <a:pt x="1572" y="291"/>
                    </a:lnTo>
                    <a:lnTo>
                      <a:pt x="1650" y="351"/>
                    </a:lnTo>
                    <a:lnTo>
                      <a:pt x="1710" y="395"/>
                    </a:lnTo>
                    <a:lnTo>
                      <a:pt x="1768" y="436"/>
                    </a:lnTo>
                    <a:lnTo>
                      <a:pt x="1827" y="480"/>
                    </a:lnTo>
                    <a:lnTo>
                      <a:pt x="1885" y="520"/>
                    </a:lnTo>
                    <a:lnTo>
                      <a:pt x="1943" y="558"/>
                    </a:lnTo>
                    <a:lnTo>
                      <a:pt x="1997" y="590"/>
                    </a:lnTo>
                    <a:lnTo>
                      <a:pt x="2051" y="618"/>
                    </a:lnTo>
                    <a:lnTo>
                      <a:pt x="2101" y="638"/>
                    </a:lnTo>
                    <a:lnTo>
                      <a:pt x="2147" y="652"/>
                    </a:lnTo>
                    <a:lnTo>
                      <a:pt x="2186" y="656"/>
                    </a:lnTo>
                    <a:lnTo>
                      <a:pt x="2843" y="656"/>
                    </a:lnTo>
                    <a:lnTo>
                      <a:pt x="2916" y="660"/>
                    </a:lnTo>
                    <a:lnTo>
                      <a:pt x="2982" y="670"/>
                    </a:lnTo>
                    <a:lnTo>
                      <a:pt x="3040" y="684"/>
                    </a:lnTo>
                    <a:lnTo>
                      <a:pt x="3092" y="701"/>
                    </a:lnTo>
                    <a:lnTo>
                      <a:pt x="3136" y="721"/>
                    </a:lnTo>
                    <a:lnTo>
                      <a:pt x="3172" y="741"/>
                    </a:lnTo>
                    <a:lnTo>
                      <a:pt x="3202" y="761"/>
                    </a:lnTo>
                    <a:lnTo>
                      <a:pt x="3224" y="777"/>
                    </a:lnTo>
                    <a:lnTo>
                      <a:pt x="3240" y="789"/>
                    </a:lnTo>
                    <a:lnTo>
                      <a:pt x="3248" y="797"/>
                    </a:lnTo>
                    <a:lnTo>
                      <a:pt x="3265" y="821"/>
                    </a:lnTo>
                    <a:lnTo>
                      <a:pt x="3275" y="847"/>
                    </a:lnTo>
                    <a:lnTo>
                      <a:pt x="3279" y="875"/>
                    </a:lnTo>
                    <a:lnTo>
                      <a:pt x="3275" y="903"/>
                    </a:lnTo>
                    <a:lnTo>
                      <a:pt x="3265" y="929"/>
                    </a:lnTo>
                    <a:lnTo>
                      <a:pt x="3248" y="953"/>
                    </a:lnTo>
                    <a:lnTo>
                      <a:pt x="3224" y="971"/>
                    </a:lnTo>
                    <a:lnTo>
                      <a:pt x="3198" y="981"/>
                    </a:lnTo>
                    <a:lnTo>
                      <a:pt x="3170" y="985"/>
                    </a:lnTo>
                    <a:lnTo>
                      <a:pt x="3142" y="981"/>
                    </a:lnTo>
                    <a:lnTo>
                      <a:pt x="3116" y="971"/>
                    </a:lnTo>
                    <a:lnTo>
                      <a:pt x="3094" y="953"/>
                    </a:lnTo>
                    <a:lnTo>
                      <a:pt x="3088" y="949"/>
                    </a:lnTo>
                    <a:lnTo>
                      <a:pt x="3076" y="939"/>
                    </a:lnTo>
                    <a:lnTo>
                      <a:pt x="3056" y="927"/>
                    </a:lnTo>
                    <a:lnTo>
                      <a:pt x="3030" y="913"/>
                    </a:lnTo>
                    <a:lnTo>
                      <a:pt x="2994" y="899"/>
                    </a:lnTo>
                    <a:lnTo>
                      <a:pt x="2950" y="887"/>
                    </a:lnTo>
                    <a:lnTo>
                      <a:pt x="2900" y="879"/>
                    </a:lnTo>
                    <a:lnTo>
                      <a:pt x="2843" y="875"/>
                    </a:lnTo>
                    <a:lnTo>
                      <a:pt x="2186" y="875"/>
                    </a:lnTo>
                    <a:lnTo>
                      <a:pt x="2119" y="869"/>
                    </a:lnTo>
                    <a:lnTo>
                      <a:pt x="2049" y="851"/>
                    </a:lnTo>
                    <a:lnTo>
                      <a:pt x="1977" y="825"/>
                    </a:lnTo>
                    <a:lnTo>
                      <a:pt x="1905" y="787"/>
                    </a:lnTo>
                    <a:lnTo>
                      <a:pt x="1829" y="745"/>
                    </a:lnTo>
                    <a:lnTo>
                      <a:pt x="1754" y="696"/>
                    </a:lnTo>
                    <a:lnTo>
                      <a:pt x="1678" y="642"/>
                    </a:lnTo>
                    <a:lnTo>
                      <a:pt x="1598" y="584"/>
                    </a:lnTo>
                    <a:lnTo>
                      <a:pt x="1520" y="526"/>
                    </a:lnTo>
                    <a:lnTo>
                      <a:pt x="1462" y="482"/>
                    </a:lnTo>
                    <a:lnTo>
                      <a:pt x="1403" y="438"/>
                    </a:lnTo>
                    <a:lnTo>
                      <a:pt x="1343" y="397"/>
                    </a:lnTo>
                    <a:lnTo>
                      <a:pt x="1285" y="355"/>
                    </a:lnTo>
                    <a:lnTo>
                      <a:pt x="1227" y="319"/>
                    </a:lnTo>
                    <a:lnTo>
                      <a:pt x="1173" y="285"/>
                    </a:lnTo>
                    <a:lnTo>
                      <a:pt x="1119" y="259"/>
                    </a:lnTo>
                    <a:lnTo>
                      <a:pt x="1069" y="237"/>
                    </a:lnTo>
                    <a:lnTo>
                      <a:pt x="1026" y="223"/>
                    </a:lnTo>
                    <a:lnTo>
                      <a:pt x="984" y="219"/>
                    </a:lnTo>
                    <a:lnTo>
                      <a:pt x="110" y="219"/>
                    </a:lnTo>
                    <a:lnTo>
                      <a:pt x="74" y="213"/>
                    </a:lnTo>
                    <a:lnTo>
                      <a:pt x="44" y="197"/>
                    </a:lnTo>
                    <a:lnTo>
                      <a:pt x="20" y="175"/>
                    </a:lnTo>
                    <a:lnTo>
                      <a:pt x="6" y="145"/>
                    </a:lnTo>
                    <a:lnTo>
                      <a:pt x="0" y="109"/>
                    </a:lnTo>
                    <a:lnTo>
                      <a:pt x="6" y="76"/>
                    </a:lnTo>
                    <a:lnTo>
                      <a:pt x="20" y="46"/>
                    </a:lnTo>
                    <a:lnTo>
                      <a:pt x="44" y="22"/>
                    </a:lnTo>
                    <a:lnTo>
                      <a:pt x="74" y="6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3" name="Freeform 14"/>
              <p:cNvSpPr>
                <a:spLocks/>
              </p:cNvSpPr>
              <p:nvPr/>
            </p:nvSpPr>
            <p:spPr bwMode="auto">
              <a:xfrm>
                <a:off x="-7126288" y="4359275"/>
                <a:ext cx="258763" cy="261938"/>
              </a:xfrm>
              <a:custGeom>
                <a:avLst/>
                <a:gdLst>
                  <a:gd name="T0" fmla="*/ 164 w 328"/>
                  <a:gd name="T1" fmla="*/ 0 h 329"/>
                  <a:gd name="T2" fmla="*/ 208 w 328"/>
                  <a:gd name="T3" fmla="*/ 6 h 329"/>
                  <a:gd name="T4" fmla="*/ 246 w 328"/>
                  <a:gd name="T5" fmla="*/ 24 h 329"/>
                  <a:gd name="T6" fmla="*/ 280 w 328"/>
                  <a:gd name="T7" fmla="*/ 50 h 329"/>
                  <a:gd name="T8" fmla="*/ 306 w 328"/>
                  <a:gd name="T9" fmla="*/ 82 h 329"/>
                  <a:gd name="T10" fmla="*/ 322 w 328"/>
                  <a:gd name="T11" fmla="*/ 122 h 329"/>
                  <a:gd name="T12" fmla="*/ 328 w 328"/>
                  <a:gd name="T13" fmla="*/ 165 h 329"/>
                  <a:gd name="T14" fmla="*/ 322 w 328"/>
                  <a:gd name="T15" fmla="*/ 207 h 329"/>
                  <a:gd name="T16" fmla="*/ 306 w 328"/>
                  <a:gd name="T17" fmla="*/ 247 h 329"/>
                  <a:gd name="T18" fmla="*/ 280 w 328"/>
                  <a:gd name="T19" fmla="*/ 281 h 329"/>
                  <a:gd name="T20" fmla="*/ 246 w 328"/>
                  <a:gd name="T21" fmla="*/ 307 h 329"/>
                  <a:gd name="T22" fmla="*/ 208 w 328"/>
                  <a:gd name="T23" fmla="*/ 323 h 329"/>
                  <a:gd name="T24" fmla="*/ 164 w 328"/>
                  <a:gd name="T25" fmla="*/ 329 h 329"/>
                  <a:gd name="T26" fmla="*/ 120 w 328"/>
                  <a:gd name="T27" fmla="*/ 323 h 329"/>
                  <a:gd name="T28" fmla="*/ 80 w 328"/>
                  <a:gd name="T29" fmla="*/ 307 h 329"/>
                  <a:gd name="T30" fmla="*/ 48 w 328"/>
                  <a:gd name="T31" fmla="*/ 281 h 329"/>
                  <a:gd name="T32" fmla="*/ 22 w 328"/>
                  <a:gd name="T33" fmla="*/ 247 h 329"/>
                  <a:gd name="T34" fmla="*/ 6 w 328"/>
                  <a:gd name="T35" fmla="*/ 207 h 329"/>
                  <a:gd name="T36" fmla="*/ 0 w 328"/>
                  <a:gd name="T37" fmla="*/ 165 h 329"/>
                  <a:gd name="T38" fmla="*/ 6 w 328"/>
                  <a:gd name="T39" fmla="*/ 122 h 329"/>
                  <a:gd name="T40" fmla="*/ 22 w 328"/>
                  <a:gd name="T41" fmla="*/ 82 h 329"/>
                  <a:gd name="T42" fmla="*/ 48 w 328"/>
                  <a:gd name="T43" fmla="*/ 50 h 329"/>
                  <a:gd name="T44" fmla="*/ 80 w 328"/>
                  <a:gd name="T45" fmla="*/ 24 h 329"/>
                  <a:gd name="T46" fmla="*/ 120 w 328"/>
                  <a:gd name="T47" fmla="*/ 6 h 329"/>
                  <a:gd name="T48" fmla="*/ 164 w 328"/>
                  <a:gd name="T49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8" h="329">
                    <a:moveTo>
                      <a:pt x="164" y="0"/>
                    </a:moveTo>
                    <a:lnTo>
                      <a:pt x="208" y="6"/>
                    </a:lnTo>
                    <a:lnTo>
                      <a:pt x="246" y="24"/>
                    </a:lnTo>
                    <a:lnTo>
                      <a:pt x="280" y="50"/>
                    </a:lnTo>
                    <a:lnTo>
                      <a:pt x="306" y="82"/>
                    </a:lnTo>
                    <a:lnTo>
                      <a:pt x="322" y="122"/>
                    </a:lnTo>
                    <a:lnTo>
                      <a:pt x="328" y="165"/>
                    </a:lnTo>
                    <a:lnTo>
                      <a:pt x="322" y="207"/>
                    </a:lnTo>
                    <a:lnTo>
                      <a:pt x="306" y="247"/>
                    </a:lnTo>
                    <a:lnTo>
                      <a:pt x="280" y="281"/>
                    </a:lnTo>
                    <a:lnTo>
                      <a:pt x="246" y="307"/>
                    </a:lnTo>
                    <a:lnTo>
                      <a:pt x="208" y="323"/>
                    </a:lnTo>
                    <a:lnTo>
                      <a:pt x="164" y="329"/>
                    </a:lnTo>
                    <a:lnTo>
                      <a:pt x="120" y="323"/>
                    </a:lnTo>
                    <a:lnTo>
                      <a:pt x="80" y="307"/>
                    </a:lnTo>
                    <a:lnTo>
                      <a:pt x="48" y="281"/>
                    </a:lnTo>
                    <a:lnTo>
                      <a:pt x="22" y="247"/>
                    </a:lnTo>
                    <a:lnTo>
                      <a:pt x="6" y="207"/>
                    </a:lnTo>
                    <a:lnTo>
                      <a:pt x="0" y="165"/>
                    </a:lnTo>
                    <a:lnTo>
                      <a:pt x="6" y="122"/>
                    </a:lnTo>
                    <a:lnTo>
                      <a:pt x="22" y="82"/>
                    </a:lnTo>
                    <a:lnTo>
                      <a:pt x="48" y="50"/>
                    </a:lnTo>
                    <a:lnTo>
                      <a:pt x="80" y="24"/>
                    </a:lnTo>
                    <a:lnTo>
                      <a:pt x="120" y="6"/>
                    </a:lnTo>
                    <a:lnTo>
                      <a:pt x="16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-6259513" y="3321050"/>
                <a:ext cx="4165600" cy="1558925"/>
              </a:xfrm>
              <a:custGeom>
                <a:avLst/>
                <a:gdLst>
                  <a:gd name="T0" fmla="*/ 4989 w 5248"/>
                  <a:gd name="T1" fmla="*/ 38 h 1966"/>
                  <a:gd name="T2" fmla="*/ 5188 w 5248"/>
                  <a:gd name="T3" fmla="*/ 218 h 1966"/>
                  <a:gd name="T4" fmla="*/ 5246 w 5248"/>
                  <a:gd name="T5" fmla="*/ 483 h 1966"/>
                  <a:gd name="T6" fmla="*/ 5136 w 5248"/>
                  <a:gd name="T7" fmla="*/ 730 h 1966"/>
                  <a:gd name="T8" fmla="*/ 3551 w 5248"/>
                  <a:gd name="T9" fmla="*/ 1735 h 1966"/>
                  <a:gd name="T10" fmla="*/ 3443 w 5248"/>
                  <a:gd name="T11" fmla="*/ 1788 h 1966"/>
                  <a:gd name="T12" fmla="*/ 3198 w 5248"/>
                  <a:gd name="T13" fmla="*/ 1874 h 1966"/>
                  <a:gd name="T14" fmla="*/ 2803 w 5248"/>
                  <a:gd name="T15" fmla="*/ 1946 h 1966"/>
                  <a:gd name="T16" fmla="*/ 2318 w 5248"/>
                  <a:gd name="T17" fmla="*/ 1964 h 1966"/>
                  <a:gd name="T18" fmla="*/ 1955 w 5248"/>
                  <a:gd name="T19" fmla="*/ 1906 h 1966"/>
                  <a:gd name="T20" fmla="*/ 1582 w 5248"/>
                  <a:gd name="T21" fmla="*/ 1794 h 1966"/>
                  <a:gd name="T22" fmla="*/ 1239 w 5248"/>
                  <a:gd name="T23" fmla="*/ 1661 h 1966"/>
                  <a:gd name="T24" fmla="*/ 956 w 5248"/>
                  <a:gd name="T25" fmla="*/ 1531 h 1966"/>
                  <a:gd name="T26" fmla="*/ 768 w 5248"/>
                  <a:gd name="T27" fmla="*/ 1438 h 1966"/>
                  <a:gd name="T28" fmla="*/ 706 w 5248"/>
                  <a:gd name="T29" fmla="*/ 1404 h 1966"/>
                  <a:gd name="T30" fmla="*/ 587 w 5248"/>
                  <a:gd name="T31" fmla="*/ 1366 h 1966"/>
                  <a:gd name="T32" fmla="*/ 308 w 5248"/>
                  <a:gd name="T33" fmla="*/ 1320 h 1966"/>
                  <a:gd name="T34" fmla="*/ 44 w 5248"/>
                  <a:gd name="T35" fmla="*/ 1290 h 1966"/>
                  <a:gd name="T36" fmla="*/ 6 w 5248"/>
                  <a:gd name="T37" fmla="*/ 1166 h 1966"/>
                  <a:gd name="T38" fmla="*/ 110 w 5248"/>
                  <a:gd name="T39" fmla="*/ 1093 h 1966"/>
                  <a:gd name="T40" fmla="*/ 493 w 5248"/>
                  <a:gd name="T41" fmla="*/ 1123 h 1966"/>
                  <a:gd name="T42" fmla="*/ 728 w 5248"/>
                  <a:gd name="T43" fmla="*/ 1180 h 1966"/>
                  <a:gd name="T44" fmla="*/ 814 w 5248"/>
                  <a:gd name="T45" fmla="*/ 1212 h 1966"/>
                  <a:gd name="T46" fmla="*/ 894 w 5248"/>
                  <a:gd name="T47" fmla="*/ 1256 h 1966"/>
                  <a:gd name="T48" fmla="*/ 1095 w 5248"/>
                  <a:gd name="T49" fmla="*/ 1356 h 1966"/>
                  <a:gd name="T50" fmla="*/ 1383 w 5248"/>
                  <a:gd name="T51" fmla="*/ 1483 h 1966"/>
                  <a:gd name="T52" fmla="*/ 1720 w 5248"/>
                  <a:gd name="T53" fmla="*/ 1611 h 1966"/>
                  <a:gd name="T54" fmla="*/ 2073 w 5248"/>
                  <a:gd name="T55" fmla="*/ 1709 h 1966"/>
                  <a:gd name="T56" fmla="*/ 2406 w 5248"/>
                  <a:gd name="T57" fmla="*/ 1749 h 1966"/>
                  <a:gd name="T58" fmla="*/ 2892 w 5248"/>
                  <a:gd name="T59" fmla="*/ 1713 h 1966"/>
                  <a:gd name="T60" fmla="*/ 3222 w 5248"/>
                  <a:gd name="T61" fmla="*/ 1639 h 1966"/>
                  <a:gd name="T62" fmla="*/ 3399 w 5248"/>
                  <a:gd name="T63" fmla="*/ 1569 h 1966"/>
                  <a:gd name="T64" fmla="*/ 4917 w 5248"/>
                  <a:gd name="T65" fmla="*/ 628 h 1966"/>
                  <a:gd name="T66" fmla="*/ 5021 w 5248"/>
                  <a:gd name="T67" fmla="*/ 493 h 1966"/>
                  <a:gd name="T68" fmla="*/ 4999 w 5248"/>
                  <a:gd name="T69" fmla="*/ 327 h 1966"/>
                  <a:gd name="T70" fmla="*/ 4867 w 5248"/>
                  <a:gd name="T71" fmla="*/ 226 h 1966"/>
                  <a:gd name="T72" fmla="*/ 4702 w 5248"/>
                  <a:gd name="T73" fmla="*/ 248 h 1966"/>
                  <a:gd name="T74" fmla="*/ 3218 w 5248"/>
                  <a:gd name="T75" fmla="*/ 941 h 1966"/>
                  <a:gd name="T76" fmla="*/ 2869 w 5248"/>
                  <a:gd name="T77" fmla="*/ 979 h 1966"/>
                  <a:gd name="T78" fmla="*/ 2434 w 5248"/>
                  <a:gd name="T79" fmla="*/ 981 h 1966"/>
                  <a:gd name="T80" fmla="*/ 2093 w 5248"/>
                  <a:gd name="T81" fmla="*/ 961 h 1966"/>
                  <a:gd name="T82" fmla="*/ 1766 w 5248"/>
                  <a:gd name="T83" fmla="*/ 925 h 1966"/>
                  <a:gd name="T84" fmla="*/ 1514 w 5248"/>
                  <a:gd name="T85" fmla="*/ 889 h 1966"/>
                  <a:gd name="T86" fmla="*/ 1403 w 5248"/>
                  <a:gd name="T87" fmla="*/ 871 h 1966"/>
                  <a:gd name="T88" fmla="*/ 1313 w 5248"/>
                  <a:gd name="T89" fmla="*/ 782 h 1966"/>
                  <a:gd name="T90" fmla="*/ 1373 w 5248"/>
                  <a:gd name="T91" fmla="*/ 666 h 1966"/>
                  <a:gd name="T92" fmla="*/ 1466 w 5248"/>
                  <a:gd name="T93" fmla="*/ 662 h 1966"/>
                  <a:gd name="T94" fmla="*/ 1648 w 5248"/>
                  <a:gd name="T95" fmla="*/ 688 h 1966"/>
                  <a:gd name="T96" fmla="*/ 1939 w 5248"/>
                  <a:gd name="T97" fmla="*/ 726 h 1966"/>
                  <a:gd name="T98" fmla="*/ 2274 w 5248"/>
                  <a:gd name="T99" fmla="*/ 756 h 1966"/>
                  <a:gd name="T100" fmla="*/ 2637 w 5248"/>
                  <a:gd name="T101" fmla="*/ 764 h 1966"/>
                  <a:gd name="T102" fmla="*/ 3016 w 5248"/>
                  <a:gd name="T103" fmla="*/ 752 h 1966"/>
                  <a:gd name="T104" fmla="*/ 3281 w 5248"/>
                  <a:gd name="T105" fmla="*/ 694 h 1966"/>
                  <a:gd name="T106" fmla="*/ 4721 w 5248"/>
                  <a:gd name="T107" fmla="*/ 8 h 1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48" h="1966">
                    <a:moveTo>
                      <a:pt x="4787" y="0"/>
                    </a:moveTo>
                    <a:lnTo>
                      <a:pt x="4855" y="2"/>
                    </a:lnTo>
                    <a:lnTo>
                      <a:pt x="4923" y="14"/>
                    </a:lnTo>
                    <a:lnTo>
                      <a:pt x="4989" y="38"/>
                    </a:lnTo>
                    <a:lnTo>
                      <a:pt x="5049" y="70"/>
                    </a:lnTo>
                    <a:lnTo>
                      <a:pt x="5102" y="112"/>
                    </a:lnTo>
                    <a:lnTo>
                      <a:pt x="5150" y="162"/>
                    </a:lnTo>
                    <a:lnTo>
                      <a:pt x="5188" y="218"/>
                    </a:lnTo>
                    <a:lnTo>
                      <a:pt x="5218" y="281"/>
                    </a:lnTo>
                    <a:lnTo>
                      <a:pt x="5238" y="345"/>
                    </a:lnTo>
                    <a:lnTo>
                      <a:pt x="5248" y="413"/>
                    </a:lnTo>
                    <a:lnTo>
                      <a:pt x="5246" y="483"/>
                    </a:lnTo>
                    <a:lnTo>
                      <a:pt x="5232" y="551"/>
                    </a:lnTo>
                    <a:lnTo>
                      <a:pt x="5210" y="614"/>
                    </a:lnTo>
                    <a:lnTo>
                      <a:pt x="5176" y="676"/>
                    </a:lnTo>
                    <a:lnTo>
                      <a:pt x="5136" y="730"/>
                    </a:lnTo>
                    <a:lnTo>
                      <a:pt x="5086" y="776"/>
                    </a:lnTo>
                    <a:lnTo>
                      <a:pt x="5029" y="816"/>
                    </a:lnTo>
                    <a:lnTo>
                      <a:pt x="3557" y="1731"/>
                    </a:lnTo>
                    <a:lnTo>
                      <a:pt x="3551" y="1735"/>
                    </a:lnTo>
                    <a:lnTo>
                      <a:pt x="3535" y="1745"/>
                    </a:lnTo>
                    <a:lnTo>
                      <a:pt x="3513" y="1756"/>
                    </a:lnTo>
                    <a:lnTo>
                      <a:pt x="3483" y="1770"/>
                    </a:lnTo>
                    <a:lnTo>
                      <a:pt x="3443" y="1788"/>
                    </a:lnTo>
                    <a:lnTo>
                      <a:pt x="3395" y="1808"/>
                    </a:lnTo>
                    <a:lnTo>
                      <a:pt x="3337" y="1830"/>
                    </a:lnTo>
                    <a:lnTo>
                      <a:pt x="3271" y="1852"/>
                    </a:lnTo>
                    <a:lnTo>
                      <a:pt x="3198" y="1874"/>
                    </a:lnTo>
                    <a:lnTo>
                      <a:pt x="3114" y="1894"/>
                    </a:lnTo>
                    <a:lnTo>
                      <a:pt x="3020" y="1914"/>
                    </a:lnTo>
                    <a:lnTo>
                      <a:pt x="2916" y="1930"/>
                    </a:lnTo>
                    <a:lnTo>
                      <a:pt x="2803" y="1946"/>
                    </a:lnTo>
                    <a:lnTo>
                      <a:pt x="2681" y="1956"/>
                    </a:lnTo>
                    <a:lnTo>
                      <a:pt x="2547" y="1964"/>
                    </a:lnTo>
                    <a:lnTo>
                      <a:pt x="2406" y="1966"/>
                    </a:lnTo>
                    <a:lnTo>
                      <a:pt x="2318" y="1964"/>
                    </a:lnTo>
                    <a:lnTo>
                      <a:pt x="2230" y="1956"/>
                    </a:lnTo>
                    <a:lnTo>
                      <a:pt x="2141" y="1944"/>
                    </a:lnTo>
                    <a:lnTo>
                      <a:pt x="2047" y="1926"/>
                    </a:lnTo>
                    <a:lnTo>
                      <a:pt x="1955" y="1906"/>
                    </a:lnTo>
                    <a:lnTo>
                      <a:pt x="1861" y="1882"/>
                    </a:lnTo>
                    <a:lnTo>
                      <a:pt x="1768" y="1856"/>
                    </a:lnTo>
                    <a:lnTo>
                      <a:pt x="1674" y="1826"/>
                    </a:lnTo>
                    <a:lnTo>
                      <a:pt x="1582" y="1794"/>
                    </a:lnTo>
                    <a:lnTo>
                      <a:pt x="1492" y="1762"/>
                    </a:lnTo>
                    <a:lnTo>
                      <a:pt x="1405" y="1729"/>
                    </a:lnTo>
                    <a:lnTo>
                      <a:pt x="1321" y="1695"/>
                    </a:lnTo>
                    <a:lnTo>
                      <a:pt x="1239" y="1661"/>
                    </a:lnTo>
                    <a:lnTo>
                      <a:pt x="1161" y="1627"/>
                    </a:lnTo>
                    <a:lnTo>
                      <a:pt x="1087" y="1593"/>
                    </a:lnTo>
                    <a:lnTo>
                      <a:pt x="1020" y="1561"/>
                    </a:lnTo>
                    <a:lnTo>
                      <a:pt x="956" y="1531"/>
                    </a:lnTo>
                    <a:lnTo>
                      <a:pt x="898" y="1503"/>
                    </a:lnTo>
                    <a:lnTo>
                      <a:pt x="848" y="1477"/>
                    </a:lnTo>
                    <a:lnTo>
                      <a:pt x="804" y="1455"/>
                    </a:lnTo>
                    <a:lnTo>
                      <a:pt x="768" y="1438"/>
                    </a:lnTo>
                    <a:lnTo>
                      <a:pt x="740" y="1422"/>
                    </a:lnTo>
                    <a:lnTo>
                      <a:pt x="722" y="1412"/>
                    </a:lnTo>
                    <a:lnTo>
                      <a:pt x="712" y="1406"/>
                    </a:lnTo>
                    <a:lnTo>
                      <a:pt x="706" y="1404"/>
                    </a:lnTo>
                    <a:lnTo>
                      <a:pt x="693" y="1398"/>
                    </a:lnTo>
                    <a:lnTo>
                      <a:pt x="667" y="1390"/>
                    </a:lnTo>
                    <a:lnTo>
                      <a:pt x="631" y="1378"/>
                    </a:lnTo>
                    <a:lnTo>
                      <a:pt x="587" y="1366"/>
                    </a:lnTo>
                    <a:lnTo>
                      <a:pt x="531" y="1352"/>
                    </a:lnTo>
                    <a:lnTo>
                      <a:pt x="465" y="1340"/>
                    </a:lnTo>
                    <a:lnTo>
                      <a:pt x="391" y="1328"/>
                    </a:lnTo>
                    <a:lnTo>
                      <a:pt x="308" y="1320"/>
                    </a:lnTo>
                    <a:lnTo>
                      <a:pt x="214" y="1314"/>
                    </a:lnTo>
                    <a:lnTo>
                      <a:pt x="110" y="1310"/>
                    </a:lnTo>
                    <a:lnTo>
                      <a:pt x="74" y="1306"/>
                    </a:lnTo>
                    <a:lnTo>
                      <a:pt x="44" y="1290"/>
                    </a:lnTo>
                    <a:lnTo>
                      <a:pt x="20" y="1266"/>
                    </a:lnTo>
                    <a:lnTo>
                      <a:pt x="6" y="1236"/>
                    </a:lnTo>
                    <a:lnTo>
                      <a:pt x="0" y="1202"/>
                    </a:lnTo>
                    <a:lnTo>
                      <a:pt x="6" y="1166"/>
                    </a:lnTo>
                    <a:lnTo>
                      <a:pt x="20" y="1137"/>
                    </a:lnTo>
                    <a:lnTo>
                      <a:pt x="44" y="1113"/>
                    </a:lnTo>
                    <a:lnTo>
                      <a:pt x="74" y="1099"/>
                    </a:lnTo>
                    <a:lnTo>
                      <a:pt x="110" y="1093"/>
                    </a:lnTo>
                    <a:lnTo>
                      <a:pt x="220" y="1095"/>
                    </a:lnTo>
                    <a:lnTo>
                      <a:pt x="320" y="1101"/>
                    </a:lnTo>
                    <a:lnTo>
                      <a:pt x="411" y="1111"/>
                    </a:lnTo>
                    <a:lnTo>
                      <a:pt x="493" y="1123"/>
                    </a:lnTo>
                    <a:lnTo>
                      <a:pt x="567" y="1137"/>
                    </a:lnTo>
                    <a:lnTo>
                      <a:pt x="629" y="1151"/>
                    </a:lnTo>
                    <a:lnTo>
                      <a:pt x="685" y="1166"/>
                    </a:lnTo>
                    <a:lnTo>
                      <a:pt x="728" y="1180"/>
                    </a:lnTo>
                    <a:lnTo>
                      <a:pt x="764" y="1192"/>
                    </a:lnTo>
                    <a:lnTo>
                      <a:pt x="790" y="1202"/>
                    </a:lnTo>
                    <a:lnTo>
                      <a:pt x="806" y="1210"/>
                    </a:lnTo>
                    <a:lnTo>
                      <a:pt x="814" y="1212"/>
                    </a:lnTo>
                    <a:lnTo>
                      <a:pt x="820" y="1216"/>
                    </a:lnTo>
                    <a:lnTo>
                      <a:pt x="836" y="1224"/>
                    </a:lnTo>
                    <a:lnTo>
                      <a:pt x="860" y="1238"/>
                    </a:lnTo>
                    <a:lnTo>
                      <a:pt x="894" y="1256"/>
                    </a:lnTo>
                    <a:lnTo>
                      <a:pt x="934" y="1276"/>
                    </a:lnTo>
                    <a:lnTo>
                      <a:pt x="982" y="1300"/>
                    </a:lnTo>
                    <a:lnTo>
                      <a:pt x="1036" y="1326"/>
                    </a:lnTo>
                    <a:lnTo>
                      <a:pt x="1095" y="1356"/>
                    </a:lnTo>
                    <a:lnTo>
                      <a:pt x="1159" y="1386"/>
                    </a:lnTo>
                    <a:lnTo>
                      <a:pt x="1231" y="1418"/>
                    </a:lnTo>
                    <a:lnTo>
                      <a:pt x="1305" y="1450"/>
                    </a:lnTo>
                    <a:lnTo>
                      <a:pt x="1383" y="1483"/>
                    </a:lnTo>
                    <a:lnTo>
                      <a:pt x="1464" y="1517"/>
                    </a:lnTo>
                    <a:lnTo>
                      <a:pt x="1548" y="1549"/>
                    </a:lnTo>
                    <a:lnTo>
                      <a:pt x="1634" y="1581"/>
                    </a:lnTo>
                    <a:lnTo>
                      <a:pt x="1720" y="1611"/>
                    </a:lnTo>
                    <a:lnTo>
                      <a:pt x="1807" y="1639"/>
                    </a:lnTo>
                    <a:lnTo>
                      <a:pt x="1897" y="1665"/>
                    </a:lnTo>
                    <a:lnTo>
                      <a:pt x="1985" y="1689"/>
                    </a:lnTo>
                    <a:lnTo>
                      <a:pt x="2073" y="1709"/>
                    </a:lnTo>
                    <a:lnTo>
                      <a:pt x="2158" y="1725"/>
                    </a:lnTo>
                    <a:lnTo>
                      <a:pt x="2244" y="1737"/>
                    </a:lnTo>
                    <a:lnTo>
                      <a:pt x="2326" y="1745"/>
                    </a:lnTo>
                    <a:lnTo>
                      <a:pt x="2406" y="1749"/>
                    </a:lnTo>
                    <a:lnTo>
                      <a:pt x="2543" y="1745"/>
                    </a:lnTo>
                    <a:lnTo>
                      <a:pt x="2669" y="1739"/>
                    </a:lnTo>
                    <a:lnTo>
                      <a:pt x="2787" y="1727"/>
                    </a:lnTo>
                    <a:lnTo>
                      <a:pt x="2892" y="1713"/>
                    </a:lnTo>
                    <a:lnTo>
                      <a:pt x="2990" y="1697"/>
                    </a:lnTo>
                    <a:lnTo>
                      <a:pt x="3076" y="1679"/>
                    </a:lnTo>
                    <a:lnTo>
                      <a:pt x="3154" y="1659"/>
                    </a:lnTo>
                    <a:lnTo>
                      <a:pt x="3222" y="1639"/>
                    </a:lnTo>
                    <a:lnTo>
                      <a:pt x="3279" y="1619"/>
                    </a:lnTo>
                    <a:lnTo>
                      <a:pt x="3327" y="1601"/>
                    </a:lnTo>
                    <a:lnTo>
                      <a:pt x="3367" y="1583"/>
                    </a:lnTo>
                    <a:lnTo>
                      <a:pt x="3399" y="1569"/>
                    </a:lnTo>
                    <a:lnTo>
                      <a:pt x="3421" y="1557"/>
                    </a:lnTo>
                    <a:lnTo>
                      <a:pt x="3433" y="1551"/>
                    </a:lnTo>
                    <a:lnTo>
                      <a:pt x="3439" y="1547"/>
                    </a:lnTo>
                    <a:lnTo>
                      <a:pt x="4917" y="628"/>
                    </a:lnTo>
                    <a:lnTo>
                      <a:pt x="4953" y="602"/>
                    </a:lnTo>
                    <a:lnTo>
                      <a:pt x="4983" y="570"/>
                    </a:lnTo>
                    <a:lnTo>
                      <a:pt x="5007" y="535"/>
                    </a:lnTo>
                    <a:lnTo>
                      <a:pt x="5021" y="493"/>
                    </a:lnTo>
                    <a:lnTo>
                      <a:pt x="5029" y="451"/>
                    </a:lnTo>
                    <a:lnTo>
                      <a:pt x="5027" y="409"/>
                    </a:lnTo>
                    <a:lnTo>
                      <a:pt x="5017" y="367"/>
                    </a:lnTo>
                    <a:lnTo>
                      <a:pt x="4999" y="327"/>
                    </a:lnTo>
                    <a:lnTo>
                      <a:pt x="4973" y="291"/>
                    </a:lnTo>
                    <a:lnTo>
                      <a:pt x="4943" y="261"/>
                    </a:lnTo>
                    <a:lnTo>
                      <a:pt x="4907" y="240"/>
                    </a:lnTo>
                    <a:lnTo>
                      <a:pt x="4867" y="226"/>
                    </a:lnTo>
                    <a:lnTo>
                      <a:pt x="4825" y="220"/>
                    </a:lnTo>
                    <a:lnTo>
                      <a:pt x="4783" y="220"/>
                    </a:lnTo>
                    <a:lnTo>
                      <a:pt x="4741" y="230"/>
                    </a:lnTo>
                    <a:lnTo>
                      <a:pt x="4702" y="248"/>
                    </a:lnTo>
                    <a:lnTo>
                      <a:pt x="3437" y="863"/>
                    </a:lnTo>
                    <a:lnTo>
                      <a:pt x="3365" y="895"/>
                    </a:lnTo>
                    <a:lnTo>
                      <a:pt x="3291" y="921"/>
                    </a:lnTo>
                    <a:lnTo>
                      <a:pt x="3218" y="941"/>
                    </a:lnTo>
                    <a:lnTo>
                      <a:pt x="3140" y="957"/>
                    </a:lnTo>
                    <a:lnTo>
                      <a:pt x="3056" y="967"/>
                    </a:lnTo>
                    <a:lnTo>
                      <a:pt x="2966" y="975"/>
                    </a:lnTo>
                    <a:lnTo>
                      <a:pt x="2869" y="979"/>
                    </a:lnTo>
                    <a:lnTo>
                      <a:pt x="2761" y="983"/>
                    </a:lnTo>
                    <a:lnTo>
                      <a:pt x="2643" y="983"/>
                    </a:lnTo>
                    <a:lnTo>
                      <a:pt x="2514" y="983"/>
                    </a:lnTo>
                    <a:lnTo>
                      <a:pt x="2434" y="981"/>
                    </a:lnTo>
                    <a:lnTo>
                      <a:pt x="2352" y="979"/>
                    </a:lnTo>
                    <a:lnTo>
                      <a:pt x="2266" y="975"/>
                    </a:lnTo>
                    <a:lnTo>
                      <a:pt x="2180" y="969"/>
                    </a:lnTo>
                    <a:lnTo>
                      <a:pt x="2093" y="961"/>
                    </a:lnTo>
                    <a:lnTo>
                      <a:pt x="2007" y="953"/>
                    </a:lnTo>
                    <a:lnTo>
                      <a:pt x="1923" y="943"/>
                    </a:lnTo>
                    <a:lnTo>
                      <a:pt x="1843" y="933"/>
                    </a:lnTo>
                    <a:lnTo>
                      <a:pt x="1766" y="925"/>
                    </a:lnTo>
                    <a:lnTo>
                      <a:pt x="1694" y="915"/>
                    </a:lnTo>
                    <a:lnTo>
                      <a:pt x="1626" y="905"/>
                    </a:lnTo>
                    <a:lnTo>
                      <a:pt x="1566" y="897"/>
                    </a:lnTo>
                    <a:lnTo>
                      <a:pt x="1514" y="889"/>
                    </a:lnTo>
                    <a:lnTo>
                      <a:pt x="1470" y="883"/>
                    </a:lnTo>
                    <a:lnTo>
                      <a:pt x="1436" y="877"/>
                    </a:lnTo>
                    <a:lnTo>
                      <a:pt x="1415" y="873"/>
                    </a:lnTo>
                    <a:lnTo>
                      <a:pt x="1403" y="871"/>
                    </a:lnTo>
                    <a:lnTo>
                      <a:pt x="1371" y="861"/>
                    </a:lnTo>
                    <a:lnTo>
                      <a:pt x="1343" y="842"/>
                    </a:lnTo>
                    <a:lnTo>
                      <a:pt x="1323" y="814"/>
                    </a:lnTo>
                    <a:lnTo>
                      <a:pt x="1313" y="782"/>
                    </a:lnTo>
                    <a:lnTo>
                      <a:pt x="1313" y="746"/>
                    </a:lnTo>
                    <a:lnTo>
                      <a:pt x="1325" y="714"/>
                    </a:lnTo>
                    <a:lnTo>
                      <a:pt x="1345" y="686"/>
                    </a:lnTo>
                    <a:lnTo>
                      <a:pt x="1373" y="666"/>
                    </a:lnTo>
                    <a:lnTo>
                      <a:pt x="1405" y="656"/>
                    </a:lnTo>
                    <a:lnTo>
                      <a:pt x="1438" y="656"/>
                    </a:lnTo>
                    <a:lnTo>
                      <a:pt x="1446" y="658"/>
                    </a:lnTo>
                    <a:lnTo>
                      <a:pt x="1466" y="662"/>
                    </a:lnTo>
                    <a:lnTo>
                      <a:pt x="1498" y="666"/>
                    </a:lnTo>
                    <a:lnTo>
                      <a:pt x="1538" y="672"/>
                    </a:lnTo>
                    <a:lnTo>
                      <a:pt x="1588" y="680"/>
                    </a:lnTo>
                    <a:lnTo>
                      <a:pt x="1648" y="688"/>
                    </a:lnTo>
                    <a:lnTo>
                      <a:pt x="1712" y="696"/>
                    </a:lnTo>
                    <a:lnTo>
                      <a:pt x="1784" y="706"/>
                    </a:lnTo>
                    <a:lnTo>
                      <a:pt x="1859" y="716"/>
                    </a:lnTo>
                    <a:lnTo>
                      <a:pt x="1939" y="726"/>
                    </a:lnTo>
                    <a:lnTo>
                      <a:pt x="2021" y="734"/>
                    </a:lnTo>
                    <a:lnTo>
                      <a:pt x="2105" y="742"/>
                    </a:lnTo>
                    <a:lnTo>
                      <a:pt x="2190" y="750"/>
                    </a:lnTo>
                    <a:lnTo>
                      <a:pt x="2274" y="756"/>
                    </a:lnTo>
                    <a:lnTo>
                      <a:pt x="2358" y="760"/>
                    </a:lnTo>
                    <a:lnTo>
                      <a:pt x="2438" y="764"/>
                    </a:lnTo>
                    <a:lnTo>
                      <a:pt x="2514" y="764"/>
                    </a:lnTo>
                    <a:lnTo>
                      <a:pt x="2637" y="764"/>
                    </a:lnTo>
                    <a:lnTo>
                      <a:pt x="2747" y="764"/>
                    </a:lnTo>
                    <a:lnTo>
                      <a:pt x="2847" y="762"/>
                    </a:lnTo>
                    <a:lnTo>
                      <a:pt x="2936" y="758"/>
                    </a:lnTo>
                    <a:lnTo>
                      <a:pt x="3016" y="752"/>
                    </a:lnTo>
                    <a:lnTo>
                      <a:pt x="3090" y="744"/>
                    </a:lnTo>
                    <a:lnTo>
                      <a:pt x="3158" y="732"/>
                    </a:lnTo>
                    <a:lnTo>
                      <a:pt x="3222" y="714"/>
                    </a:lnTo>
                    <a:lnTo>
                      <a:pt x="3281" y="694"/>
                    </a:lnTo>
                    <a:lnTo>
                      <a:pt x="3339" y="666"/>
                    </a:lnTo>
                    <a:lnTo>
                      <a:pt x="4598" y="54"/>
                    </a:lnTo>
                    <a:lnTo>
                      <a:pt x="4658" y="26"/>
                    </a:lnTo>
                    <a:lnTo>
                      <a:pt x="4721" y="8"/>
                    </a:lnTo>
                    <a:lnTo>
                      <a:pt x="4787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-7300913" y="2625725"/>
                <a:ext cx="868363" cy="2428875"/>
              </a:xfrm>
              <a:custGeom>
                <a:avLst/>
                <a:gdLst>
                  <a:gd name="T0" fmla="*/ 110 w 1093"/>
                  <a:gd name="T1" fmla="*/ 0 h 3060"/>
                  <a:gd name="T2" fmla="*/ 766 w 1093"/>
                  <a:gd name="T3" fmla="*/ 0 h 3060"/>
                  <a:gd name="T4" fmla="*/ 824 w 1093"/>
                  <a:gd name="T5" fmla="*/ 6 h 3060"/>
                  <a:gd name="T6" fmla="*/ 880 w 1093"/>
                  <a:gd name="T7" fmla="*/ 20 h 3060"/>
                  <a:gd name="T8" fmla="*/ 931 w 1093"/>
                  <a:gd name="T9" fmla="*/ 46 h 3060"/>
                  <a:gd name="T10" fmla="*/ 977 w 1093"/>
                  <a:gd name="T11" fmla="*/ 78 h 3060"/>
                  <a:gd name="T12" fmla="*/ 1015 w 1093"/>
                  <a:gd name="T13" fmla="*/ 118 h 3060"/>
                  <a:gd name="T14" fmla="*/ 1049 w 1093"/>
                  <a:gd name="T15" fmla="*/ 164 h 3060"/>
                  <a:gd name="T16" fmla="*/ 1073 w 1093"/>
                  <a:gd name="T17" fmla="*/ 214 h 3060"/>
                  <a:gd name="T18" fmla="*/ 1087 w 1093"/>
                  <a:gd name="T19" fmla="*/ 269 h 3060"/>
                  <a:gd name="T20" fmla="*/ 1093 w 1093"/>
                  <a:gd name="T21" fmla="*/ 329 h 3060"/>
                  <a:gd name="T22" fmla="*/ 1093 w 1093"/>
                  <a:gd name="T23" fmla="*/ 2731 h 3060"/>
                  <a:gd name="T24" fmla="*/ 1087 w 1093"/>
                  <a:gd name="T25" fmla="*/ 2791 h 3060"/>
                  <a:gd name="T26" fmla="*/ 1073 w 1093"/>
                  <a:gd name="T27" fmla="*/ 2847 h 3060"/>
                  <a:gd name="T28" fmla="*/ 1049 w 1093"/>
                  <a:gd name="T29" fmla="*/ 2897 h 3060"/>
                  <a:gd name="T30" fmla="*/ 1015 w 1093"/>
                  <a:gd name="T31" fmla="*/ 2942 h 3060"/>
                  <a:gd name="T32" fmla="*/ 977 w 1093"/>
                  <a:gd name="T33" fmla="*/ 2982 h 3060"/>
                  <a:gd name="T34" fmla="*/ 931 w 1093"/>
                  <a:gd name="T35" fmla="*/ 3014 h 3060"/>
                  <a:gd name="T36" fmla="*/ 880 w 1093"/>
                  <a:gd name="T37" fmla="*/ 3040 h 3060"/>
                  <a:gd name="T38" fmla="*/ 824 w 1093"/>
                  <a:gd name="T39" fmla="*/ 3054 h 3060"/>
                  <a:gd name="T40" fmla="*/ 766 w 1093"/>
                  <a:gd name="T41" fmla="*/ 3060 h 3060"/>
                  <a:gd name="T42" fmla="*/ 110 w 1093"/>
                  <a:gd name="T43" fmla="*/ 3060 h 3060"/>
                  <a:gd name="T44" fmla="*/ 74 w 1093"/>
                  <a:gd name="T45" fmla="*/ 3054 h 3060"/>
                  <a:gd name="T46" fmla="*/ 44 w 1093"/>
                  <a:gd name="T47" fmla="*/ 3038 h 3060"/>
                  <a:gd name="T48" fmla="*/ 22 w 1093"/>
                  <a:gd name="T49" fmla="*/ 3014 h 3060"/>
                  <a:gd name="T50" fmla="*/ 6 w 1093"/>
                  <a:gd name="T51" fmla="*/ 2984 h 3060"/>
                  <a:gd name="T52" fmla="*/ 0 w 1093"/>
                  <a:gd name="T53" fmla="*/ 2950 h 3060"/>
                  <a:gd name="T54" fmla="*/ 6 w 1093"/>
                  <a:gd name="T55" fmla="*/ 2917 h 3060"/>
                  <a:gd name="T56" fmla="*/ 22 w 1093"/>
                  <a:gd name="T57" fmla="*/ 2887 h 3060"/>
                  <a:gd name="T58" fmla="*/ 44 w 1093"/>
                  <a:gd name="T59" fmla="*/ 2863 h 3060"/>
                  <a:gd name="T60" fmla="*/ 74 w 1093"/>
                  <a:gd name="T61" fmla="*/ 2847 h 3060"/>
                  <a:gd name="T62" fmla="*/ 110 w 1093"/>
                  <a:gd name="T63" fmla="*/ 2841 h 3060"/>
                  <a:gd name="T64" fmla="*/ 766 w 1093"/>
                  <a:gd name="T65" fmla="*/ 2841 h 3060"/>
                  <a:gd name="T66" fmla="*/ 800 w 1093"/>
                  <a:gd name="T67" fmla="*/ 2835 h 3060"/>
                  <a:gd name="T68" fmla="*/ 830 w 1093"/>
                  <a:gd name="T69" fmla="*/ 2821 h 3060"/>
                  <a:gd name="T70" fmla="*/ 854 w 1093"/>
                  <a:gd name="T71" fmla="*/ 2797 h 3060"/>
                  <a:gd name="T72" fmla="*/ 870 w 1093"/>
                  <a:gd name="T73" fmla="*/ 2767 h 3060"/>
                  <a:gd name="T74" fmla="*/ 876 w 1093"/>
                  <a:gd name="T75" fmla="*/ 2733 h 3060"/>
                  <a:gd name="T76" fmla="*/ 876 w 1093"/>
                  <a:gd name="T77" fmla="*/ 329 h 3060"/>
                  <a:gd name="T78" fmla="*/ 870 w 1093"/>
                  <a:gd name="T79" fmla="*/ 293 h 3060"/>
                  <a:gd name="T80" fmla="*/ 854 w 1093"/>
                  <a:gd name="T81" fmla="*/ 263 h 3060"/>
                  <a:gd name="T82" fmla="*/ 830 w 1093"/>
                  <a:gd name="T83" fmla="*/ 239 h 3060"/>
                  <a:gd name="T84" fmla="*/ 800 w 1093"/>
                  <a:gd name="T85" fmla="*/ 226 h 3060"/>
                  <a:gd name="T86" fmla="*/ 766 w 1093"/>
                  <a:gd name="T87" fmla="*/ 220 h 3060"/>
                  <a:gd name="T88" fmla="*/ 110 w 1093"/>
                  <a:gd name="T89" fmla="*/ 220 h 3060"/>
                  <a:gd name="T90" fmla="*/ 74 w 1093"/>
                  <a:gd name="T91" fmla="*/ 214 h 3060"/>
                  <a:gd name="T92" fmla="*/ 44 w 1093"/>
                  <a:gd name="T93" fmla="*/ 198 h 3060"/>
                  <a:gd name="T94" fmla="*/ 22 w 1093"/>
                  <a:gd name="T95" fmla="*/ 174 h 3060"/>
                  <a:gd name="T96" fmla="*/ 6 w 1093"/>
                  <a:gd name="T97" fmla="*/ 144 h 3060"/>
                  <a:gd name="T98" fmla="*/ 0 w 1093"/>
                  <a:gd name="T99" fmla="*/ 110 h 3060"/>
                  <a:gd name="T100" fmla="*/ 6 w 1093"/>
                  <a:gd name="T101" fmla="*/ 76 h 3060"/>
                  <a:gd name="T102" fmla="*/ 22 w 1093"/>
                  <a:gd name="T103" fmla="*/ 46 h 3060"/>
                  <a:gd name="T104" fmla="*/ 44 w 1093"/>
                  <a:gd name="T105" fmla="*/ 22 h 3060"/>
                  <a:gd name="T106" fmla="*/ 74 w 1093"/>
                  <a:gd name="T107" fmla="*/ 6 h 3060"/>
                  <a:gd name="T108" fmla="*/ 110 w 1093"/>
                  <a:gd name="T109" fmla="*/ 0 h 3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93" h="3060">
                    <a:moveTo>
                      <a:pt x="110" y="0"/>
                    </a:moveTo>
                    <a:lnTo>
                      <a:pt x="766" y="0"/>
                    </a:lnTo>
                    <a:lnTo>
                      <a:pt x="824" y="6"/>
                    </a:lnTo>
                    <a:lnTo>
                      <a:pt x="880" y="20"/>
                    </a:lnTo>
                    <a:lnTo>
                      <a:pt x="931" y="46"/>
                    </a:lnTo>
                    <a:lnTo>
                      <a:pt x="977" y="78"/>
                    </a:lnTo>
                    <a:lnTo>
                      <a:pt x="1015" y="118"/>
                    </a:lnTo>
                    <a:lnTo>
                      <a:pt x="1049" y="164"/>
                    </a:lnTo>
                    <a:lnTo>
                      <a:pt x="1073" y="214"/>
                    </a:lnTo>
                    <a:lnTo>
                      <a:pt x="1087" y="269"/>
                    </a:lnTo>
                    <a:lnTo>
                      <a:pt x="1093" y="329"/>
                    </a:lnTo>
                    <a:lnTo>
                      <a:pt x="1093" y="2731"/>
                    </a:lnTo>
                    <a:lnTo>
                      <a:pt x="1087" y="2791"/>
                    </a:lnTo>
                    <a:lnTo>
                      <a:pt x="1073" y="2847"/>
                    </a:lnTo>
                    <a:lnTo>
                      <a:pt x="1049" y="2897"/>
                    </a:lnTo>
                    <a:lnTo>
                      <a:pt x="1015" y="2942"/>
                    </a:lnTo>
                    <a:lnTo>
                      <a:pt x="977" y="2982"/>
                    </a:lnTo>
                    <a:lnTo>
                      <a:pt x="931" y="3014"/>
                    </a:lnTo>
                    <a:lnTo>
                      <a:pt x="880" y="3040"/>
                    </a:lnTo>
                    <a:lnTo>
                      <a:pt x="824" y="3054"/>
                    </a:lnTo>
                    <a:lnTo>
                      <a:pt x="766" y="3060"/>
                    </a:lnTo>
                    <a:lnTo>
                      <a:pt x="110" y="3060"/>
                    </a:lnTo>
                    <a:lnTo>
                      <a:pt x="74" y="3054"/>
                    </a:lnTo>
                    <a:lnTo>
                      <a:pt x="44" y="3038"/>
                    </a:lnTo>
                    <a:lnTo>
                      <a:pt x="22" y="3014"/>
                    </a:lnTo>
                    <a:lnTo>
                      <a:pt x="6" y="2984"/>
                    </a:lnTo>
                    <a:lnTo>
                      <a:pt x="0" y="2950"/>
                    </a:lnTo>
                    <a:lnTo>
                      <a:pt x="6" y="2917"/>
                    </a:lnTo>
                    <a:lnTo>
                      <a:pt x="22" y="2887"/>
                    </a:lnTo>
                    <a:lnTo>
                      <a:pt x="44" y="2863"/>
                    </a:lnTo>
                    <a:lnTo>
                      <a:pt x="74" y="2847"/>
                    </a:lnTo>
                    <a:lnTo>
                      <a:pt x="110" y="2841"/>
                    </a:lnTo>
                    <a:lnTo>
                      <a:pt x="766" y="2841"/>
                    </a:lnTo>
                    <a:lnTo>
                      <a:pt x="800" y="2835"/>
                    </a:lnTo>
                    <a:lnTo>
                      <a:pt x="830" y="2821"/>
                    </a:lnTo>
                    <a:lnTo>
                      <a:pt x="854" y="2797"/>
                    </a:lnTo>
                    <a:lnTo>
                      <a:pt x="870" y="2767"/>
                    </a:lnTo>
                    <a:lnTo>
                      <a:pt x="876" y="2733"/>
                    </a:lnTo>
                    <a:lnTo>
                      <a:pt x="876" y="329"/>
                    </a:lnTo>
                    <a:lnTo>
                      <a:pt x="870" y="293"/>
                    </a:lnTo>
                    <a:lnTo>
                      <a:pt x="854" y="263"/>
                    </a:lnTo>
                    <a:lnTo>
                      <a:pt x="830" y="239"/>
                    </a:lnTo>
                    <a:lnTo>
                      <a:pt x="800" y="226"/>
                    </a:lnTo>
                    <a:lnTo>
                      <a:pt x="766" y="220"/>
                    </a:lnTo>
                    <a:lnTo>
                      <a:pt x="110" y="220"/>
                    </a:lnTo>
                    <a:lnTo>
                      <a:pt x="74" y="214"/>
                    </a:lnTo>
                    <a:lnTo>
                      <a:pt x="44" y="198"/>
                    </a:lnTo>
                    <a:lnTo>
                      <a:pt x="22" y="174"/>
                    </a:lnTo>
                    <a:lnTo>
                      <a:pt x="6" y="144"/>
                    </a:lnTo>
                    <a:lnTo>
                      <a:pt x="0" y="110"/>
                    </a:lnTo>
                    <a:lnTo>
                      <a:pt x="6" y="76"/>
                    </a:lnTo>
                    <a:lnTo>
                      <a:pt x="22" y="46"/>
                    </a:lnTo>
                    <a:lnTo>
                      <a:pt x="44" y="22"/>
                    </a:lnTo>
                    <a:lnTo>
                      <a:pt x="74" y="6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4415661" y="4760259"/>
              <a:ext cx="3085368" cy="2733560"/>
              <a:chOff x="13822363" y="3694113"/>
              <a:chExt cx="5207000" cy="4613275"/>
            </a:xfrm>
          </p:grpSpPr>
          <p:sp>
            <p:nvSpPr>
              <p:cNvPr id="50" name="Freeform 21"/>
              <p:cNvSpPr>
                <a:spLocks/>
              </p:cNvSpPr>
              <p:nvPr/>
            </p:nvSpPr>
            <p:spPr bwMode="auto">
              <a:xfrm>
                <a:off x="13822363" y="3694113"/>
                <a:ext cx="5207000" cy="4613275"/>
              </a:xfrm>
              <a:custGeom>
                <a:avLst/>
                <a:gdLst>
                  <a:gd name="T0" fmla="*/ 5921 w 6560"/>
                  <a:gd name="T1" fmla="*/ 20 h 5812"/>
                  <a:gd name="T2" fmla="*/ 6174 w 6560"/>
                  <a:gd name="T3" fmla="*/ 125 h 5812"/>
                  <a:gd name="T4" fmla="*/ 6375 w 6560"/>
                  <a:gd name="T5" fmla="*/ 302 h 5812"/>
                  <a:gd name="T6" fmla="*/ 6443 w 6560"/>
                  <a:gd name="T7" fmla="*/ 430 h 5812"/>
                  <a:gd name="T8" fmla="*/ 6415 w 6560"/>
                  <a:gd name="T9" fmla="*/ 513 h 5812"/>
                  <a:gd name="T10" fmla="*/ 6331 w 6560"/>
                  <a:gd name="T11" fmla="*/ 553 h 5812"/>
                  <a:gd name="T12" fmla="*/ 6248 w 6560"/>
                  <a:gd name="T13" fmla="*/ 525 h 5812"/>
                  <a:gd name="T14" fmla="*/ 6150 w 6560"/>
                  <a:gd name="T15" fmla="*/ 408 h 5812"/>
                  <a:gd name="T16" fmla="*/ 5957 w 6560"/>
                  <a:gd name="T17" fmla="*/ 281 h 5812"/>
                  <a:gd name="T18" fmla="*/ 5736 w 6560"/>
                  <a:gd name="T19" fmla="*/ 237 h 5812"/>
                  <a:gd name="T20" fmla="*/ 5515 w 6560"/>
                  <a:gd name="T21" fmla="*/ 281 h 5812"/>
                  <a:gd name="T22" fmla="*/ 5320 w 6560"/>
                  <a:gd name="T23" fmla="*/ 408 h 5812"/>
                  <a:gd name="T24" fmla="*/ 6150 w 6560"/>
                  <a:gd name="T25" fmla="*/ 1238 h 5812"/>
                  <a:gd name="T26" fmla="*/ 6277 w 6560"/>
                  <a:gd name="T27" fmla="*/ 1049 h 5812"/>
                  <a:gd name="T28" fmla="*/ 6323 w 6560"/>
                  <a:gd name="T29" fmla="*/ 824 h 5812"/>
                  <a:gd name="T30" fmla="*/ 6371 w 6560"/>
                  <a:gd name="T31" fmla="*/ 728 h 5812"/>
                  <a:gd name="T32" fmla="*/ 6478 w 6560"/>
                  <a:gd name="T33" fmla="*/ 710 h 5812"/>
                  <a:gd name="T34" fmla="*/ 6554 w 6560"/>
                  <a:gd name="T35" fmla="*/ 786 h 5812"/>
                  <a:gd name="T36" fmla="*/ 6538 w 6560"/>
                  <a:gd name="T37" fmla="*/ 1009 h 5812"/>
                  <a:gd name="T38" fmla="*/ 6435 w 6560"/>
                  <a:gd name="T39" fmla="*/ 1261 h 5812"/>
                  <a:gd name="T40" fmla="*/ 3430 w 6560"/>
                  <a:gd name="T41" fmla="*/ 4294 h 5812"/>
                  <a:gd name="T42" fmla="*/ 3347 w 6560"/>
                  <a:gd name="T43" fmla="*/ 4328 h 5812"/>
                  <a:gd name="T44" fmla="*/ 3263 w 6560"/>
                  <a:gd name="T45" fmla="*/ 4294 h 5812"/>
                  <a:gd name="T46" fmla="*/ 2967 w 6560"/>
                  <a:gd name="T47" fmla="*/ 4318 h 5812"/>
                  <a:gd name="T48" fmla="*/ 2937 w 6560"/>
                  <a:gd name="T49" fmla="*/ 4443 h 5812"/>
                  <a:gd name="T50" fmla="*/ 2994 w 6560"/>
                  <a:gd name="T51" fmla="*/ 4563 h 5812"/>
                  <a:gd name="T52" fmla="*/ 3028 w 6560"/>
                  <a:gd name="T53" fmla="*/ 4646 h 5812"/>
                  <a:gd name="T54" fmla="*/ 2994 w 6560"/>
                  <a:gd name="T55" fmla="*/ 4730 h 5812"/>
                  <a:gd name="T56" fmla="*/ 2282 w 6560"/>
                  <a:gd name="T57" fmla="*/ 5412 h 5812"/>
                  <a:gd name="T58" fmla="*/ 1904 w 6560"/>
                  <a:gd name="T59" fmla="*/ 5633 h 5812"/>
                  <a:gd name="T60" fmla="*/ 1494 w 6560"/>
                  <a:gd name="T61" fmla="*/ 5766 h 5812"/>
                  <a:gd name="T62" fmla="*/ 1064 w 6560"/>
                  <a:gd name="T63" fmla="*/ 5812 h 5812"/>
                  <a:gd name="T64" fmla="*/ 623 w 6560"/>
                  <a:gd name="T65" fmla="*/ 5764 h 5812"/>
                  <a:gd name="T66" fmla="*/ 197 w 6560"/>
                  <a:gd name="T67" fmla="*/ 5617 h 5812"/>
                  <a:gd name="T68" fmla="*/ 20 w 6560"/>
                  <a:gd name="T69" fmla="*/ 5510 h 5812"/>
                  <a:gd name="T70" fmla="*/ 0 w 6560"/>
                  <a:gd name="T71" fmla="*/ 5432 h 5812"/>
                  <a:gd name="T72" fmla="*/ 34 w 6560"/>
                  <a:gd name="T73" fmla="*/ 5360 h 5812"/>
                  <a:gd name="T74" fmla="*/ 1341 w 6560"/>
                  <a:gd name="T75" fmla="*/ 4077 h 5812"/>
                  <a:gd name="T76" fmla="*/ 1429 w 6560"/>
                  <a:gd name="T77" fmla="*/ 4089 h 5812"/>
                  <a:gd name="T78" fmla="*/ 1484 w 6560"/>
                  <a:gd name="T79" fmla="*/ 4163 h 5812"/>
                  <a:gd name="T80" fmla="*/ 1474 w 6560"/>
                  <a:gd name="T81" fmla="*/ 4250 h 5812"/>
                  <a:gd name="T82" fmla="*/ 446 w 6560"/>
                  <a:gd name="T83" fmla="*/ 5466 h 5812"/>
                  <a:gd name="T84" fmla="*/ 844 w 6560"/>
                  <a:gd name="T85" fmla="*/ 5561 h 5812"/>
                  <a:gd name="T86" fmla="*/ 1250 w 6560"/>
                  <a:gd name="T87" fmla="*/ 5565 h 5812"/>
                  <a:gd name="T88" fmla="*/ 1643 w 6560"/>
                  <a:gd name="T89" fmla="*/ 5480 h 5812"/>
                  <a:gd name="T90" fmla="*/ 2014 w 6560"/>
                  <a:gd name="T91" fmla="*/ 5307 h 5812"/>
                  <a:gd name="T92" fmla="*/ 2340 w 6560"/>
                  <a:gd name="T93" fmla="*/ 5050 h 5812"/>
                  <a:gd name="T94" fmla="*/ 2710 w 6560"/>
                  <a:gd name="T95" fmla="*/ 4519 h 5812"/>
                  <a:gd name="T96" fmla="*/ 2708 w 6560"/>
                  <a:gd name="T97" fmla="*/ 4334 h 5812"/>
                  <a:gd name="T98" fmla="*/ 2784 w 6560"/>
                  <a:gd name="T99" fmla="*/ 4163 h 5812"/>
                  <a:gd name="T100" fmla="*/ 2350 w 6560"/>
                  <a:gd name="T101" fmla="*/ 3381 h 5812"/>
                  <a:gd name="T102" fmla="*/ 1669 w 6560"/>
                  <a:gd name="T103" fmla="*/ 4039 h 5812"/>
                  <a:gd name="T104" fmla="*/ 1580 w 6560"/>
                  <a:gd name="T105" fmla="*/ 4027 h 5812"/>
                  <a:gd name="T106" fmla="*/ 1524 w 6560"/>
                  <a:gd name="T107" fmla="*/ 3954 h 5812"/>
                  <a:gd name="T108" fmla="*/ 1536 w 6560"/>
                  <a:gd name="T109" fmla="*/ 3866 h 5812"/>
                  <a:gd name="T110" fmla="*/ 5223 w 6560"/>
                  <a:gd name="T111" fmla="*/ 179 h 5812"/>
                  <a:gd name="T112" fmla="*/ 5464 w 6560"/>
                  <a:gd name="T113" fmla="*/ 46 h 5812"/>
                  <a:gd name="T114" fmla="*/ 5736 w 6560"/>
                  <a:gd name="T115" fmla="*/ 0 h 5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560" h="5812">
                    <a:moveTo>
                      <a:pt x="5736" y="0"/>
                    </a:moveTo>
                    <a:lnTo>
                      <a:pt x="5830" y="6"/>
                    </a:lnTo>
                    <a:lnTo>
                      <a:pt x="5921" y="20"/>
                    </a:lnTo>
                    <a:lnTo>
                      <a:pt x="6009" y="46"/>
                    </a:lnTo>
                    <a:lnTo>
                      <a:pt x="6092" y="82"/>
                    </a:lnTo>
                    <a:lnTo>
                      <a:pt x="6174" y="125"/>
                    </a:lnTo>
                    <a:lnTo>
                      <a:pt x="6250" y="179"/>
                    </a:lnTo>
                    <a:lnTo>
                      <a:pt x="6319" y="241"/>
                    </a:lnTo>
                    <a:lnTo>
                      <a:pt x="6375" y="302"/>
                    </a:lnTo>
                    <a:lnTo>
                      <a:pt x="6425" y="370"/>
                    </a:lnTo>
                    <a:lnTo>
                      <a:pt x="6437" y="400"/>
                    </a:lnTo>
                    <a:lnTo>
                      <a:pt x="6443" y="430"/>
                    </a:lnTo>
                    <a:lnTo>
                      <a:pt x="6441" y="460"/>
                    </a:lnTo>
                    <a:lnTo>
                      <a:pt x="6431" y="487"/>
                    </a:lnTo>
                    <a:lnTo>
                      <a:pt x="6415" y="513"/>
                    </a:lnTo>
                    <a:lnTo>
                      <a:pt x="6391" y="535"/>
                    </a:lnTo>
                    <a:lnTo>
                      <a:pt x="6361" y="549"/>
                    </a:lnTo>
                    <a:lnTo>
                      <a:pt x="6331" y="553"/>
                    </a:lnTo>
                    <a:lnTo>
                      <a:pt x="6301" y="551"/>
                    </a:lnTo>
                    <a:lnTo>
                      <a:pt x="6274" y="541"/>
                    </a:lnTo>
                    <a:lnTo>
                      <a:pt x="6248" y="525"/>
                    </a:lnTo>
                    <a:lnTo>
                      <a:pt x="6226" y="501"/>
                    </a:lnTo>
                    <a:lnTo>
                      <a:pt x="6190" y="454"/>
                    </a:lnTo>
                    <a:lnTo>
                      <a:pt x="6150" y="408"/>
                    </a:lnTo>
                    <a:lnTo>
                      <a:pt x="6090" y="356"/>
                    </a:lnTo>
                    <a:lnTo>
                      <a:pt x="6027" y="314"/>
                    </a:lnTo>
                    <a:lnTo>
                      <a:pt x="5957" y="281"/>
                    </a:lnTo>
                    <a:lnTo>
                      <a:pt x="5886" y="257"/>
                    </a:lnTo>
                    <a:lnTo>
                      <a:pt x="5812" y="243"/>
                    </a:lnTo>
                    <a:lnTo>
                      <a:pt x="5736" y="237"/>
                    </a:lnTo>
                    <a:lnTo>
                      <a:pt x="5661" y="243"/>
                    </a:lnTo>
                    <a:lnTo>
                      <a:pt x="5587" y="257"/>
                    </a:lnTo>
                    <a:lnTo>
                      <a:pt x="5515" y="281"/>
                    </a:lnTo>
                    <a:lnTo>
                      <a:pt x="5446" y="314"/>
                    </a:lnTo>
                    <a:lnTo>
                      <a:pt x="5382" y="356"/>
                    </a:lnTo>
                    <a:lnTo>
                      <a:pt x="5320" y="408"/>
                    </a:lnTo>
                    <a:lnTo>
                      <a:pt x="2517" y="3213"/>
                    </a:lnTo>
                    <a:lnTo>
                      <a:pt x="3347" y="4043"/>
                    </a:lnTo>
                    <a:lnTo>
                      <a:pt x="6150" y="1238"/>
                    </a:lnTo>
                    <a:lnTo>
                      <a:pt x="6202" y="1180"/>
                    </a:lnTo>
                    <a:lnTo>
                      <a:pt x="6244" y="1116"/>
                    </a:lnTo>
                    <a:lnTo>
                      <a:pt x="6277" y="1049"/>
                    </a:lnTo>
                    <a:lnTo>
                      <a:pt x="6303" y="977"/>
                    </a:lnTo>
                    <a:lnTo>
                      <a:pt x="6317" y="901"/>
                    </a:lnTo>
                    <a:lnTo>
                      <a:pt x="6323" y="824"/>
                    </a:lnTo>
                    <a:lnTo>
                      <a:pt x="6329" y="786"/>
                    </a:lnTo>
                    <a:lnTo>
                      <a:pt x="6345" y="754"/>
                    </a:lnTo>
                    <a:lnTo>
                      <a:pt x="6371" y="728"/>
                    </a:lnTo>
                    <a:lnTo>
                      <a:pt x="6403" y="710"/>
                    </a:lnTo>
                    <a:lnTo>
                      <a:pt x="6441" y="704"/>
                    </a:lnTo>
                    <a:lnTo>
                      <a:pt x="6478" y="710"/>
                    </a:lnTo>
                    <a:lnTo>
                      <a:pt x="6510" y="728"/>
                    </a:lnTo>
                    <a:lnTo>
                      <a:pt x="6536" y="754"/>
                    </a:lnTo>
                    <a:lnTo>
                      <a:pt x="6554" y="786"/>
                    </a:lnTo>
                    <a:lnTo>
                      <a:pt x="6560" y="824"/>
                    </a:lnTo>
                    <a:lnTo>
                      <a:pt x="6554" y="917"/>
                    </a:lnTo>
                    <a:lnTo>
                      <a:pt x="6538" y="1009"/>
                    </a:lnTo>
                    <a:lnTo>
                      <a:pt x="6514" y="1096"/>
                    </a:lnTo>
                    <a:lnTo>
                      <a:pt x="6478" y="1180"/>
                    </a:lnTo>
                    <a:lnTo>
                      <a:pt x="6435" y="1261"/>
                    </a:lnTo>
                    <a:lnTo>
                      <a:pt x="6381" y="1337"/>
                    </a:lnTo>
                    <a:lnTo>
                      <a:pt x="6319" y="1407"/>
                    </a:lnTo>
                    <a:lnTo>
                      <a:pt x="3430" y="4294"/>
                    </a:lnTo>
                    <a:lnTo>
                      <a:pt x="3406" y="4314"/>
                    </a:lnTo>
                    <a:lnTo>
                      <a:pt x="3377" y="4324"/>
                    </a:lnTo>
                    <a:lnTo>
                      <a:pt x="3347" y="4328"/>
                    </a:lnTo>
                    <a:lnTo>
                      <a:pt x="3317" y="4324"/>
                    </a:lnTo>
                    <a:lnTo>
                      <a:pt x="3289" y="4314"/>
                    </a:lnTo>
                    <a:lnTo>
                      <a:pt x="3263" y="4294"/>
                    </a:lnTo>
                    <a:lnTo>
                      <a:pt x="3122" y="4153"/>
                    </a:lnTo>
                    <a:lnTo>
                      <a:pt x="2994" y="4282"/>
                    </a:lnTo>
                    <a:lnTo>
                      <a:pt x="2967" y="4318"/>
                    </a:lnTo>
                    <a:lnTo>
                      <a:pt x="2947" y="4358"/>
                    </a:lnTo>
                    <a:lnTo>
                      <a:pt x="2937" y="4399"/>
                    </a:lnTo>
                    <a:lnTo>
                      <a:pt x="2937" y="4443"/>
                    </a:lnTo>
                    <a:lnTo>
                      <a:pt x="2947" y="4487"/>
                    </a:lnTo>
                    <a:lnTo>
                      <a:pt x="2967" y="4527"/>
                    </a:lnTo>
                    <a:lnTo>
                      <a:pt x="2994" y="4563"/>
                    </a:lnTo>
                    <a:lnTo>
                      <a:pt x="3014" y="4588"/>
                    </a:lnTo>
                    <a:lnTo>
                      <a:pt x="3024" y="4616"/>
                    </a:lnTo>
                    <a:lnTo>
                      <a:pt x="3028" y="4646"/>
                    </a:lnTo>
                    <a:lnTo>
                      <a:pt x="3024" y="4676"/>
                    </a:lnTo>
                    <a:lnTo>
                      <a:pt x="3014" y="4706"/>
                    </a:lnTo>
                    <a:lnTo>
                      <a:pt x="2994" y="4730"/>
                    </a:lnTo>
                    <a:lnTo>
                      <a:pt x="2507" y="5217"/>
                    </a:lnTo>
                    <a:lnTo>
                      <a:pt x="2398" y="5319"/>
                    </a:lnTo>
                    <a:lnTo>
                      <a:pt x="2282" y="5412"/>
                    </a:lnTo>
                    <a:lnTo>
                      <a:pt x="2161" y="5496"/>
                    </a:lnTo>
                    <a:lnTo>
                      <a:pt x="2035" y="5569"/>
                    </a:lnTo>
                    <a:lnTo>
                      <a:pt x="1904" y="5633"/>
                    </a:lnTo>
                    <a:lnTo>
                      <a:pt x="1771" y="5687"/>
                    </a:lnTo>
                    <a:lnTo>
                      <a:pt x="1634" y="5733"/>
                    </a:lnTo>
                    <a:lnTo>
                      <a:pt x="1494" y="5766"/>
                    </a:lnTo>
                    <a:lnTo>
                      <a:pt x="1351" y="5792"/>
                    </a:lnTo>
                    <a:lnTo>
                      <a:pt x="1208" y="5808"/>
                    </a:lnTo>
                    <a:lnTo>
                      <a:pt x="1064" y="5812"/>
                    </a:lnTo>
                    <a:lnTo>
                      <a:pt x="917" y="5806"/>
                    </a:lnTo>
                    <a:lnTo>
                      <a:pt x="770" y="5790"/>
                    </a:lnTo>
                    <a:lnTo>
                      <a:pt x="623" y="5764"/>
                    </a:lnTo>
                    <a:lnTo>
                      <a:pt x="480" y="5727"/>
                    </a:lnTo>
                    <a:lnTo>
                      <a:pt x="336" y="5677"/>
                    </a:lnTo>
                    <a:lnTo>
                      <a:pt x="197" y="5617"/>
                    </a:lnTo>
                    <a:lnTo>
                      <a:pt x="60" y="5547"/>
                    </a:lnTo>
                    <a:lnTo>
                      <a:pt x="38" y="5532"/>
                    </a:lnTo>
                    <a:lnTo>
                      <a:pt x="20" y="5510"/>
                    </a:lnTo>
                    <a:lnTo>
                      <a:pt x="8" y="5486"/>
                    </a:lnTo>
                    <a:lnTo>
                      <a:pt x="2" y="5460"/>
                    </a:lnTo>
                    <a:lnTo>
                      <a:pt x="0" y="5432"/>
                    </a:lnTo>
                    <a:lnTo>
                      <a:pt x="6" y="5406"/>
                    </a:lnTo>
                    <a:lnTo>
                      <a:pt x="18" y="5382"/>
                    </a:lnTo>
                    <a:lnTo>
                      <a:pt x="34" y="5360"/>
                    </a:lnTo>
                    <a:lnTo>
                      <a:pt x="1287" y="4109"/>
                    </a:lnTo>
                    <a:lnTo>
                      <a:pt x="1311" y="4089"/>
                    </a:lnTo>
                    <a:lnTo>
                      <a:pt x="1341" y="4077"/>
                    </a:lnTo>
                    <a:lnTo>
                      <a:pt x="1371" y="4073"/>
                    </a:lnTo>
                    <a:lnTo>
                      <a:pt x="1401" y="4077"/>
                    </a:lnTo>
                    <a:lnTo>
                      <a:pt x="1429" y="4089"/>
                    </a:lnTo>
                    <a:lnTo>
                      <a:pt x="1454" y="4109"/>
                    </a:lnTo>
                    <a:lnTo>
                      <a:pt x="1474" y="4133"/>
                    </a:lnTo>
                    <a:lnTo>
                      <a:pt x="1484" y="4163"/>
                    </a:lnTo>
                    <a:lnTo>
                      <a:pt x="1488" y="4192"/>
                    </a:lnTo>
                    <a:lnTo>
                      <a:pt x="1484" y="4222"/>
                    </a:lnTo>
                    <a:lnTo>
                      <a:pt x="1474" y="4250"/>
                    </a:lnTo>
                    <a:lnTo>
                      <a:pt x="1454" y="4276"/>
                    </a:lnTo>
                    <a:lnTo>
                      <a:pt x="316" y="5412"/>
                    </a:lnTo>
                    <a:lnTo>
                      <a:pt x="446" y="5466"/>
                    </a:lnTo>
                    <a:lnTo>
                      <a:pt x="577" y="5508"/>
                    </a:lnTo>
                    <a:lnTo>
                      <a:pt x="710" y="5540"/>
                    </a:lnTo>
                    <a:lnTo>
                      <a:pt x="844" y="5561"/>
                    </a:lnTo>
                    <a:lnTo>
                      <a:pt x="979" y="5573"/>
                    </a:lnTo>
                    <a:lnTo>
                      <a:pt x="1114" y="5575"/>
                    </a:lnTo>
                    <a:lnTo>
                      <a:pt x="1250" y="5565"/>
                    </a:lnTo>
                    <a:lnTo>
                      <a:pt x="1383" y="5547"/>
                    </a:lnTo>
                    <a:lnTo>
                      <a:pt x="1514" y="5520"/>
                    </a:lnTo>
                    <a:lnTo>
                      <a:pt x="1643" y="5480"/>
                    </a:lnTo>
                    <a:lnTo>
                      <a:pt x="1771" y="5432"/>
                    </a:lnTo>
                    <a:lnTo>
                      <a:pt x="1894" y="5374"/>
                    </a:lnTo>
                    <a:lnTo>
                      <a:pt x="2014" y="5307"/>
                    </a:lnTo>
                    <a:lnTo>
                      <a:pt x="2127" y="5231"/>
                    </a:lnTo>
                    <a:lnTo>
                      <a:pt x="2236" y="5146"/>
                    </a:lnTo>
                    <a:lnTo>
                      <a:pt x="2340" y="5050"/>
                    </a:lnTo>
                    <a:lnTo>
                      <a:pt x="2754" y="4634"/>
                    </a:lnTo>
                    <a:lnTo>
                      <a:pt x="2728" y="4578"/>
                    </a:lnTo>
                    <a:lnTo>
                      <a:pt x="2710" y="4519"/>
                    </a:lnTo>
                    <a:lnTo>
                      <a:pt x="2700" y="4457"/>
                    </a:lnTo>
                    <a:lnTo>
                      <a:pt x="2700" y="4395"/>
                    </a:lnTo>
                    <a:lnTo>
                      <a:pt x="2708" y="4334"/>
                    </a:lnTo>
                    <a:lnTo>
                      <a:pt x="2726" y="4274"/>
                    </a:lnTo>
                    <a:lnTo>
                      <a:pt x="2750" y="4218"/>
                    </a:lnTo>
                    <a:lnTo>
                      <a:pt x="2784" y="4163"/>
                    </a:lnTo>
                    <a:lnTo>
                      <a:pt x="2827" y="4115"/>
                    </a:lnTo>
                    <a:lnTo>
                      <a:pt x="2955" y="3985"/>
                    </a:lnTo>
                    <a:lnTo>
                      <a:pt x="2350" y="3381"/>
                    </a:lnTo>
                    <a:lnTo>
                      <a:pt x="1723" y="4007"/>
                    </a:lnTo>
                    <a:lnTo>
                      <a:pt x="1697" y="4027"/>
                    </a:lnTo>
                    <a:lnTo>
                      <a:pt x="1669" y="4039"/>
                    </a:lnTo>
                    <a:lnTo>
                      <a:pt x="1640" y="4041"/>
                    </a:lnTo>
                    <a:lnTo>
                      <a:pt x="1610" y="4039"/>
                    </a:lnTo>
                    <a:lnTo>
                      <a:pt x="1580" y="4027"/>
                    </a:lnTo>
                    <a:lnTo>
                      <a:pt x="1556" y="4007"/>
                    </a:lnTo>
                    <a:lnTo>
                      <a:pt x="1536" y="3982"/>
                    </a:lnTo>
                    <a:lnTo>
                      <a:pt x="1524" y="3954"/>
                    </a:lnTo>
                    <a:lnTo>
                      <a:pt x="1520" y="3924"/>
                    </a:lnTo>
                    <a:lnTo>
                      <a:pt x="1524" y="3894"/>
                    </a:lnTo>
                    <a:lnTo>
                      <a:pt x="1536" y="3866"/>
                    </a:lnTo>
                    <a:lnTo>
                      <a:pt x="1556" y="3840"/>
                    </a:lnTo>
                    <a:lnTo>
                      <a:pt x="5153" y="241"/>
                    </a:lnTo>
                    <a:lnTo>
                      <a:pt x="5223" y="179"/>
                    </a:lnTo>
                    <a:lnTo>
                      <a:pt x="5299" y="125"/>
                    </a:lnTo>
                    <a:lnTo>
                      <a:pt x="5378" y="82"/>
                    </a:lnTo>
                    <a:lnTo>
                      <a:pt x="5464" y="46"/>
                    </a:lnTo>
                    <a:lnTo>
                      <a:pt x="5551" y="20"/>
                    </a:lnTo>
                    <a:lnTo>
                      <a:pt x="5643" y="6"/>
                    </a:lnTo>
                    <a:lnTo>
                      <a:pt x="573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1" name="Freeform 22"/>
              <p:cNvSpPr>
                <a:spLocks/>
              </p:cNvSpPr>
              <p:nvPr/>
            </p:nvSpPr>
            <p:spPr bwMode="auto">
              <a:xfrm>
                <a:off x="14797088" y="7094538"/>
                <a:ext cx="496888" cy="498475"/>
              </a:xfrm>
              <a:custGeom>
                <a:avLst/>
                <a:gdLst>
                  <a:gd name="T0" fmla="*/ 509 w 626"/>
                  <a:gd name="T1" fmla="*/ 0 h 629"/>
                  <a:gd name="T2" fmla="*/ 539 w 626"/>
                  <a:gd name="T3" fmla="*/ 4 h 629"/>
                  <a:gd name="T4" fmla="*/ 567 w 626"/>
                  <a:gd name="T5" fmla="*/ 16 h 629"/>
                  <a:gd name="T6" fmla="*/ 593 w 626"/>
                  <a:gd name="T7" fmla="*/ 36 h 629"/>
                  <a:gd name="T8" fmla="*/ 610 w 626"/>
                  <a:gd name="T9" fmla="*/ 60 h 629"/>
                  <a:gd name="T10" fmla="*/ 622 w 626"/>
                  <a:gd name="T11" fmla="*/ 89 h 629"/>
                  <a:gd name="T12" fmla="*/ 626 w 626"/>
                  <a:gd name="T13" fmla="*/ 119 h 629"/>
                  <a:gd name="T14" fmla="*/ 622 w 626"/>
                  <a:gd name="T15" fmla="*/ 149 h 629"/>
                  <a:gd name="T16" fmla="*/ 610 w 626"/>
                  <a:gd name="T17" fmla="*/ 177 h 629"/>
                  <a:gd name="T18" fmla="*/ 593 w 626"/>
                  <a:gd name="T19" fmla="*/ 203 h 629"/>
                  <a:gd name="T20" fmla="*/ 201 w 626"/>
                  <a:gd name="T21" fmla="*/ 593 h 629"/>
                  <a:gd name="T22" fmla="*/ 175 w 626"/>
                  <a:gd name="T23" fmla="*/ 613 h 629"/>
                  <a:gd name="T24" fmla="*/ 147 w 626"/>
                  <a:gd name="T25" fmla="*/ 625 h 629"/>
                  <a:gd name="T26" fmla="*/ 117 w 626"/>
                  <a:gd name="T27" fmla="*/ 629 h 629"/>
                  <a:gd name="T28" fmla="*/ 87 w 626"/>
                  <a:gd name="T29" fmla="*/ 625 h 629"/>
                  <a:gd name="T30" fmla="*/ 59 w 626"/>
                  <a:gd name="T31" fmla="*/ 613 h 629"/>
                  <a:gd name="T32" fmla="*/ 33 w 626"/>
                  <a:gd name="T33" fmla="*/ 593 h 629"/>
                  <a:gd name="T34" fmla="*/ 14 w 626"/>
                  <a:gd name="T35" fmla="*/ 569 h 629"/>
                  <a:gd name="T36" fmla="*/ 2 w 626"/>
                  <a:gd name="T37" fmla="*/ 539 h 629"/>
                  <a:gd name="T38" fmla="*/ 0 w 626"/>
                  <a:gd name="T39" fmla="*/ 509 h 629"/>
                  <a:gd name="T40" fmla="*/ 2 w 626"/>
                  <a:gd name="T41" fmla="*/ 479 h 629"/>
                  <a:gd name="T42" fmla="*/ 14 w 626"/>
                  <a:gd name="T43" fmla="*/ 452 h 629"/>
                  <a:gd name="T44" fmla="*/ 33 w 626"/>
                  <a:gd name="T45" fmla="*/ 426 h 629"/>
                  <a:gd name="T46" fmla="*/ 423 w 626"/>
                  <a:gd name="T47" fmla="*/ 36 h 629"/>
                  <a:gd name="T48" fmla="*/ 449 w 626"/>
                  <a:gd name="T49" fmla="*/ 16 h 629"/>
                  <a:gd name="T50" fmla="*/ 477 w 626"/>
                  <a:gd name="T51" fmla="*/ 4 h 629"/>
                  <a:gd name="T52" fmla="*/ 509 w 626"/>
                  <a:gd name="T53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26" h="629">
                    <a:moveTo>
                      <a:pt x="509" y="0"/>
                    </a:moveTo>
                    <a:lnTo>
                      <a:pt x="539" y="4"/>
                    </a:lnTo>
                    <a:lnTo>
                      <a:pt x="567" y="16"/>
                    </a:lnTo>
                    <a:lnTo>
                      <a:pt x="593" y="36"/>
                    </a:lnTo>
                    <a:lnTo>
                      <a:pt x="610" y="60"/>
                    </a:lnTo>
                    <a:lnTo>
                      <a:pt x="622" y="89"/>
                    </a:lnTo>
                    <a:lnTo>
                      <a:pt x="626" y="119"/>
                    </a:lnTo>
                    <a:lnTo>
                      <a:pt x="622" y="149"/>
                    </a:lnTo>
                    <a:lnTo>
                      <a:pt x="610" y="177"/>
                    </a:lnTo>
                    <a:lnTo>
                      <a:pt x="593" y="203"/>
                    </a:lnTo>
                    <a:lnTo>
                      <a:pt x="201" y="593"/>
                    </a:lnTo>
                    <a:lnTo>
                      <a:pt x="175" y="613"/>
                    </a:lnTo>
                    <a:lnTo>
                      <a:pt x="147" y="625"/>
                    </a:lnTo>
                    <a:lnTo>
                      <a:pt x="117" y="629"/>
                    </a:lnTo>
                    <a:lnTo>
                      <a:pt x="87" y="625"/>
                    </a:lnTo>
                    <a:lnTo>
                      <a:pt x="59" y="613"/>
                    </a:lnTo>
                    <a:lnTo>
                      <a:pt x="33" y="593"/>
                    </a:lnTo>
                    <a:lnTo>
                      <a:pt x="14" y="569"/>
                    </a:lnTo>
                    <a:lnTo>
                      <a:pt x="2" y="539"/>
                    </a:lnTo>
                    <a:lnTo>
                      <a:pt x="0" y="509"/>
                    </a:lnTo>
                    <a:lnTo>
                      <a:pt x="2" y="479"/>
                    </a:lnTo>
                    <a:lnTo>
                      <a:pt x="14" y="452"/>
                    </a:lnTo>
                    <a:lnTo>
                      <a:pt x="33" y="426"/>
                    </a:lnTo>
                    <a:lnTo>
                      <a:pt x="423" y="36"/>
                    </a:lnTo>
                    <a:lnTo>
                      <a:pt x="449" y="16"/>
                    </a:lnTo>
                    <a:lnTo>
                      <a:pt x="477" y="4"/>
                    </a:lnTo>
                    <a:lnTo>
                      <a:pt x="509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sp>
        <p:nvSpPr>
          <p:cNvPr id="55" name="Freeform 6"/>
          <p:cNvSpPr>
            <a:spLocks noEditPoints="1"/>
          </p:cNvSpPr>
          <p:nvPr/>
        </p:nvSpPr>
        <p:spPr bwMode="auto">
          <a:xfrm>
            <a:off x="5313817" y="1462402"/>
            <a:ext cx="543286" cy="398530"/>
          </a:xfrm>
          <a:custGeom>
            <a:avLst/>
            <a:gdLst>
              <a:gd name="T0" fmla="*/ 2712 w 5381"/>
              <a:gd name="T1" fmla="*/ 2856 h 3947"/>
              <a:gd name="T2" fmla="*/ 1755 w 5381"/>
              <a:gd name="T3" fmla="*/ 2102 h 3947"/>
              <a:gd name="T4" fmla="*/ 1024 w 5381"/>
              <a:gd name="T5" fmla="*/ 2288 h 3947"/>
              <a:gd name="T6" fmla="*/ 1579 w 5381"/>
              <a:gd name="T7" fmla="*/ 2897 h 3947"/>
              <a:gd name="T8" fmla="*/ 2160 w 5381"/>
              <a:gd name="T9" fmla="*/ 3381 h 3947"/>
              <a:gd name="T10" fmla="*/ 2606 w 5381"/>
              <a:gd name="T11" fmla="*/ 3697 h 3947"/>
              <a:gd name="T12" fmla="*/ 2875 w 5381"/>
              <a:gd name="T13" fmla="*/ 3664 h 3947"/>
              <a:gd name="T14" fmla="*/ 3349 w 5381"/>
              <a:gd name="T15" fmla="*/ 3324 h 3947"/>
              <a:gd name="T16" fmla="*/ 3937 w 5381"/>
              <a:gd name="T17" fmla="*/ 2818 h 3947"/>
              <a:gd name="T18" fmla="*/ 4472 w 5381"/>
              <a:gd name="T19" fmla="*/ 2195 h 3947"/>
              <a:gd name="T20" fmla="*/ 4031 w 5381"/>
              <a:gd name="T21" fmla="*/ 2010 h 3947"/>
              <a:gd name="T22" fmla="*/ 3559 w 5381"/>
              <a:gd name="T23" fmla="*/ 2044 h 3947"/>
              <a:gd name="T24" fmla="*/ 1468 w 5381"/>
              <a:gd name="T25" fmla="*/ 184 h 3947"/>
              <a:gd name="T26" fmla="*/ 963 w 5381"/>
              <a:gd name="T27" fmla="*/ 435 h 3947"/>
              <a:gd name="T28" fmla="*/ 676 w 5381"/>
              <a:gd name="T29" fmla="*/ 858 h 3947"/>
              <a:gd name="T30" fmla="*/ 650 w 5381"/>
              <a:gd name="T31" fmla="*/ 1539 h 3947"/>
              <a:gd name="T32" fmla="*/ 2056 w 5381"/>
              <a:gd name="T33" fmla="*/ 1164 h 3947"/>
              <a:gd name="T34" fmla="*/ 2189 w 5381"/>
              <a:gd name="T35" fmla="*/ 1189 h 3947"/>
              <a:gd name="T36" fmla="*/ 3264 w 5381"/>
              <a:gd name="T37" fmla="*/ 804 h 3947"/>
              <a:gd name="T38" fmla="*/ 3801 w 5381"/>
              <a:gd name="T39" fmla="*/ 1527 h 3947"/>
              <a:gd name="T40" fmla="*/ 3932 w 5381"/>
              <a:gd name="T41" fmla="*/ 1516 h 3947"/>
              <a:gd name="T42" fmla="*/ 4803 w 5381"/>
              <a:gd name="T43" fmla="*/ 1444 h 3947"/>
              <a:gd name="T44" fmla="*/ 4730 w 5381"/>
              <a:gd name="T45" fmla="*/ 795 h 3947"/>
              <a:gd name="T46" fmla="*/ 4410 w 5381"/>
              <a:gd name="T47" fmla="*/ 386 h 3947"/>
              <a:gd name="T48" fmla="*/ 3878 w 5381"/>
              <a:gd name="T49" fmla="*/ 173 h 3947"/>
              <a:gd name="T50" fmla="*/ 3184 w 5381"/>
              <a:gd name="T51" fmla="*/ 317 h 3947"/>
              <a:gd name="T52" fmla="*/ 2825 w 5381"/>
              <a:gd name="T53" fmla="*/ 508 h 3947"/>
              <a:gd name="T54" fmla="*/ 2705 w 5381"/>
              <a:gd name="T55" fmla="*/ 567 h 3947"/>
              <a:gd name="T56" fmla="*/ 2575 w 5381"/>
              <a:gd name="T57" fmla="*/ 489 h 3947"/>
              <a:gd name="T58" fmla="*/ 2170 w 5381"/>
              <a:gd name="T59" fmla="*/ 284 h 3947"/>
              <a:gd name="T60" fmla="*/ 1643 w 5381"/>
              <a:gd name="T61" fmla="*/ 0 h 3947"/>
              <a:gd name="T62" fmla="*/ 2320 w 5381"/>
              <a:gd name="T63" fmla="*/ 165 h 3947"/>
              <a:gd name="T64" fmla="*/ 2712 w 5381"/>
              <a:gd name="T65" fmla="*/ 379 h 3947"/>
              <a:gd name="T66" fmla="*/ 3105 w 5381"/>
              <a:gd name="T67" fmla="*/ 165 h 3947"/>
              <a:gd name="T68" fmla="*/ 3781 w 5381"/>
              <a:gd name="T69" fmla="*/ 0 h 3947"/>
              <a:gd name="T70" fmla="*/ 4402 w 5381"/>
              <a:gd name="T71" fmla="*/ 178 h 3947"/>
              <a:gd name="T72" fmla="*/ 4808 w 5381"/>
              <a:gd name="T73" fmla="*/ 597 h 3947"/>
              <a:gd name="T74" fmla="*/ 4973 w 5381"/>
              <a:gd name="T75" fmla="*/ 1074 h 3947"/>
              <a:gd name="T76" fmla="*/ 4913 w 5381"/>
              <a:gd name="T77" fmla="*/ 1683 h 3947"/>
              <a:gd name="T78" fmla="*/ 5368 w 5381"/>
              <a:gd name="T79" fmla="*/ 1928 h 3947"/>
              <a:gd name="T80" fmla="*/ 5300 w 5381"/>
              <a:gd name="T81" fmla="*/ 2051 h 3947"/>
              <a:gd name="T82" fmla="*/ 4408 w 5381"/>
              <a:gd name="T83" fmla="*/ 2560 h 3947"/>
              <a:gd name="T84" fmla="*/ 3829 w 5381"/>
              <a:gd name="T85" fmla="*/ 3147 h 3947"/>
              <a:gd name="T86" fmla="*/ 3256 w 5381"/>
              <a:gd name="T87" fmla="*/ 3607 h 3947"/>
              <a:gd name="T88" fmla="*/ 2839 w 5381"/>
              <a:gd name="T89" fmla="*/ 3885 h 3947"/>
              <a:gd name="T90" fmla="*/ 2725 w 5381"/>
              <a:gd name="T91" fmla="*/ 3947 h 3947"/>
              <a:gd name="T92" fmla="*/ 2585 w 5381"/>
              <a:gd name="T93" fmla="*/ 3878 h 3947"/>
              <a:gd name="T94" fmla="*/ 2160 w 5381"/>
              <a:gd name="T95" fmla="*/ 3592 h 3947"/>
              <a:gd name="T96" fmla="*/ 1613 w 5381"/>
              <a:gd name="T97" fmla="*/ 3144 h 3947"/>
              <a:gd name="T98" fmla="*/ 1076 w 5381"/>
              <a:gd name="T99" fmla="*/ 2606 h 3947"/>
              <a:gd name="T100" fmla="*/ 82 w 5381"/>
              <a:gd name="T101" fmla="*/ 2147 h 3947"/>
              <a:gd name="T102" fmla="*/ 16 w 5381"/>
              <a:gd name="T103" fmla="*/ 2017 h 3947"/>
              <a:gd name="T104" fmla="*/ 508 w 5381"/>
              <a:gd name="T105" fmla="*/ 1670 h 3947"/>
              <a:gd name="T106" fmla="*/ 452 w 5381"/>
              <a:gd name="T107" fmla="*/ 1071 h 3947"/>
              <a:gd name="T108" fmla="*/ 616 w 5381"/>
              <a:gd name="T109" fmla="*/ 597 h 3947"/>
              <a:gd name="T110" fmla="*/ 1022 w 5381"/>
              <a:gd name="T111" fmla="*/ 178 h 3947"/>
              <a:gd name="T112" fmla="*/ 1643 w 5381"/>
              <a:gd name="T113" fmla="*/ 0 h 3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381" h="3947">
                <a:moveTo>
                  <a:pt x="3264" y="1179"/>
                </a:moveTo>
                <a:lnTo>
                  <a:pt x="2794" y="2794"/>
                </a:lnTo>
                <a:lnTo>
                  <a:pt x="2782" y="2818"/>
                </a:lnTo>
                <a:lnTo>
                  <a:pt x="2764" y="2838"/>
                </a:lnTo>
                <a:lnTo>
                  <a:pt x="2743" y="2851"/>
                </a:lnTo>
                <a:lnTo>
                  <a:pt x="2717" y="2856"/>
                </a:lnTo>
                <a:lnTo>
                  <a:pt x="2712" y="2856"/>
                </a:lnTo>
                <a:lnTo>
                  <a:pt x="2692" y="2853"/>
                </a:lnTo>
                <a:lnTo>
                  <a:pt x="2674" y="2846"/>
                </a:lnTo>
                <a:lnTo>
                  <a:pt x="2658" y="2836"/>
                </a:lnTo>
                <a:lnTo>
                  <a:pt x="2643" y="2821"/>
                </a:lnTo>
                <a:lnTo>
                  <a:pt x="2635" y="2804"/>
                </a:lnTo>
                <a:lnTo>
                  <a:pt x="2098" y="1426"/>
                </a:lnTo>
                <a:lnTo>
                  <a:pt x="1755" y="2102"/>
                </a:lnTo>
                <a:lnTo>
                  <a:pt x="1740" y="2123"/>
                </a:lnTo>
                <a:lnTo>
                  <a:pt x="1723" y="2136"/>
                </a:lnTo>
                <a:lnTo>
                  <a:pt x="1701" y="2146"/>
                </a:lnTo>
                <a:lnTo>
                  <a:pt x="1678" y="2147"/>
                </a:lnTo>
                <a:lnTo>
                  <a:pt x="926" y="2147"/>
                </a:lnTo>
                <a:lnTo>
                  <a:pt x="957" y="2195"/>
                </a:lnTo>
                <a:lnTo>
                  <a:pt x="1024" y="2288"/>
                </a:lnTo>
                <a:lnTo>
                  <a:pt x="1096" y="2381"/>
                </a:lnTo>
                <a:lnTo>
                  <a:pt x="1171" y="2471"/>
                </a:lnTo>
                <a:lnTo>
                  <a:pt x="1249" y="2561"/>
                </a:lnTo>
                <a:lnTo>
                  <a:pt x="1329" y="2648"/>
                </a:lnTo>
                <a:lnTo>
                  <a:pt x="1411" y="2733"/>
                </a:lnTo>
                <a:lnTo>
                  <a:pt x="1494" y="2815"/>
                </a:lnTo>
                <a:lnTo>
                  <a:pt x="1579" y="2897"/>
                </a:lnTo>
                <a:lnTo>
                  <a:pt x="1664" y="2974"/>
                </a:lnTo>
                <a:lnTo>
                  <a:pt x="1749" y="3049"/>
                </a:lnTo>
                <a:lnTo>
                  <a:pt x="1834" y="3123"/>
                </a:lnTo>
                <a:lnTo>
                  <a:pt x="1918" y="3191"/>
                </a:lnTo>
                <a:lnTo>
                  <a:pt x="2000" y="3258"/>
                </a:lnTo>
                <a:lnTo>
                  <a:pt x="2082" y="3322"/>
                </a:lnTo>
                <a:lnTo>
                  <a:pt x="2160" y="3381"/>
                </a:lnTo>
                <a:lnTo>
                  <a:pt x="2235" y="3438"/>
                </a:lnTo>
                <a:lnTo>
                  <a:pt x="2309" y="3491"/>
                </a:lnTo>
                <a:lnTo>
                  <a:pt x="2377" y="3540"/>
                </a:lnTo>
                <a:lnTo>
                  <a:pt x="2441" y="3585"/>
                </a:lnTo>
                <a:lnTo>
                  <a:pt x="2501" y="3626"/>
                </a:lnTo>
                <a:lnTo>
                  <a:pt x="2557" y="3664"/>
                </a:lnTo>
                <a:lnTo>
                  <a:pt x="2606" y="3697"/>
                </a:lnTo>
                <a:lnTo>
                  <a:pt x="2650" y="3725"/>
                </a:lnTo>
                <a:lnTo>
                  <a:pt x="2687" y="3749"/>
                </a:lnTo>
                <a:lnTo>
                  <a:pt x="2717" y="3769"/>
                </a:lnTo>
                <a:lnTo>
                  <a:pt x="2746" y="3749"/>
                </a:lnTo>
                <a:lnTo>
                  <a:pt x="2782" y="3726"/>
                </a:lnTo>
                <a:lnTo>
                  <a:pt x="2826" y="3697"/>
                </a:lnTo>
                <a:lnTo>
                  <a:pt x="2875" y="3664"/>
                </a:lnTo>
                <a:lnTo>
                  <a:pt x="2929" y="3628"/>
                </a:lnTo>
                <a:lnTo>
                  <a:pt x="2990" y="3587"/>
                </a:lnTo>
                <a:lnTo>
                  <a:pt x="3055" y="3541"/>
                </a:lnTo>
                <a:lnTo>
                  <a:pt x="3123" y="3492"/>
                </a:lnTo>
                <a:lnTo>
                  <a:pt x="3195" y="3440"/>
                </a:lnTo>
                <a:lnTo>
                  <a:pt x="3270" y="3383"/>
                </a:lnTo>
                <a:lnTo>
                  <a:pt x="3349" y="3324"/>
                </a:lnTo>
                <a:lnTo>
                  <a:pt x="3430" y="3260"/>
                </a:lnTo>
                <a:lnTo>
                  <a:pt x="3514" y="3193"/>
                </a:lnTo>
                <a:lnTo>
                  <a:pt x="3597" y="3124"/>
                </a:lnTo>
                <a:lnTo>
                  <a:pt x="3682" y="3052"/>
                </a:lnTo>
                <a:lnTo>
                  <a:pt x="3767" y="2977"/>
                </a:lnTo>
                <a:lnTo>
                  <a:pt x="3852" y="2898"/>
                </a:lnTo>
                <a:lnTo>
                  <a:pt x="3937" y="2818"/>
                </a:lnTo>
                <a:lnTo>
                  <a:pt x="4020" y="2735"/>
                </a:lnTo>
                <a:lnTo>
                  <a:pt x="4101" y="2650"/>
                </a:lnTo>
                <a:lnTo>
                  <a:pt x="4181" y="2563"/>
                </a:lnTo>
                <a:lnTo>
                  <a:pt x="4258" y="2473"/>
                </a:lnTo>
                <a:lnTo>
                  <a:pt x="4333" y="2381"/>
                </a:lnTo>
                <a:lnTo>
                  <a:pt x="4405" y="2288"/>
                </a:lnTo>
                <a:lnTo>
                  <a:pt x="4472" y="2195"/>
                </a:lnTo>
                <a:lnTo>
                  <a:pt x="4518" y="2125"/>
                </a:lnTo>
                <a:lnTo>
                  <a:pt x="4563" y="2051"/>
                </a:lnTo>
                <a:lnTo>
                  <a:pt x="4103" y="2051"/>
                </a:lnTo>
                <a:lnTo>
                  <a:pt x="4082" y="2048"/>
                </a:lnTo>
                <a:lnTo>
                  <a:pt x="4062" y="2040"/>
                </a:lnTo>
                <a:lnTo>
                  <a:pt x="4044" y="2026"/>
                </a:lnTo>
                <a:lnTo>
                  <a:pt x="4031" y="2010"/>
                </a:lnTo>
                <a:lnTo>
                  <a:pt x="3863" y="1722"/>
                </a:lnTo>
                <a:lnTo>
                  <a:pt x="3664" y="2015"/>
                </a:lnTo>
                <a:lnTo>
                  <a:pt x="3646" y="2031"/>
                </a:lnTo>
                <a:lnTo>
                  <a:pt x="3626" y="2044"/>
                </a:lnTo>
                <a:lnTo>
                  <a:pt x="3603" y="2051"/>
                </a:lnTo>
                <a:lnTo>
                  <a:pt x="3581" y="2051"/>
                </a:lnTo>
                <a:lnTo>
                  <a:pt x="3559" y="2044"/>
                </a:lnTo>
                <a:lnTo>
                  <a:pt x="3540" y="2033"/>
                </a:lnTo>
                <a:lnTo>
                  <a:pt x="3525" y="2015"/>
                </a:lnTo>
                <a:lnTo>
                  <a:pt x="3515" y="1994"/>
                </a:lnTo>
                <a:lnTo>
                  <a:pt x="3264" y="1179"/>
                </a:lnTo>
                <a:close/>
                <a:moveTo>
                  <a:pt x="1647" y="170"/>
                </a:moveTo>
                <a:lnTo>
                  <a:pt x="1556" y="173"/>
                </a:lnTo>
                <a:lnTo>
                  <a:pt x="1468" y="184"/>
                </a:lnTo>
                <a:lnTo>
                  <a:pt x="1383" y="204"/>
                </a:lnTo>
                <a:lnTo>
                  <a:pt x="1303" y="229"/>
                </a:lnTo>
                <a:lnTo>
                  <a:pt x="1226" y="260"/>
                </a:lnTo>
                <a:lnTo>
                  <a:pt x="1154" y="297"/>
                </a:lnTo>
                <a:lnTo>
                  <a:pt x="1086" y="338"/>
                </a:lnTo>
                <a:lnTo>
                  <a:pt x="1022" y="386"/>
                </a:lnTo>
                <a:lnTo>
                  <a:pt x="963" y="435"/>
                </a:lnTo>
                <a:lnTo>
                  <a:pt x="908" y="489"/>
                </a:lnTo>
                <a:lnTo>
                  <a:pt x="857" y="546"/>
                </a:lnTo>
                <a:lnTo>
                  <a:pt x="811" y="606"/>
                </a:lnTo>
                <a:lnTo>
                  <a:pt x="771" y="667"/>
                </a:lnTo>
                <a:lnTo>
                  <a:pt x="735" y="731"/>
                </a:lnTo>
                <a:lnTo>
                  <a:pt x="704" y="795"/>
                </a:lnTo>
                <a:lnTo>
                  <a:pt x="676" y="858"/>
                </a:lnTo>
                <a:lnTo>
                  <a:pt x="655" y="922"/>
                </a:lnTo>
                <a:lnTo>
                  <a:pt x="632" y="1020"/>
                </a:lnTo>
                <a:lnTo>
                  <a:pt x="617" y="1120"/>
                </a:lnTo>
                <a:lnTo>
                  <a:pt x="612" y="1223"/>
                </a:lnTo>
                <a:lnTo>
                  <a:pt x="616" y="1326"/>
                </a:lnTo>
                <a:lnTo>
                  <a:pt x="629" y="1431"/>
                </a:lnTo>
                <a:lnTo>
                  <a:pt x="650" y="1539"/>
                </a:lnTo>
                <a:lnTo>
                  <a:pt x="679" y="1647"/>
                </a:lnTo>
                <a:lnTo>
                  <a:pt x="718" y="1757"/>
                </a:lnTo>
                <a:lnTo>
                  <a:pt x="767" y="1868"/>
                </a:lnTo>
                <a:lnTo>
                  <a:pt x="823" y="1979"/>
                </a:lnTo>
                <a:lnTo>
                  <a:pt x="1638" y="1979"/>
                </a:lnTo>
                <a:lnTo>
                  <a:pt x="2041" y="1184"/>
                </a:lnTo>
                <a:lnTo>
                  <a:pt x="2056" y="1164"/>
                </a:lnTo>
                <a:lnTo>
                  <a:pt x="2072" y="1150"/>
                </a:lnTo>
                <a:lnTo>
                  <a:pt x="2093" y="1141"/>
                </a:lnTo>
                <a:lnTo>
                  <a:pt x="2118" y="1138"/>
                </a:lnTo>
                <a:lnTo>
                  <a:pt x="2141" y="1141"/>
                </a:lnTo>
                <a:lnTo>
                  <a:pt x="2162" y="1153"/>
                </a:lnTo>
                <a:lnTo>
                  <a:pt x="2178" y="1169"/>
                </a:lnTo>
                <a:lnTo>
                  <a:pt x="2189" y="1189"/>
                </a:lnTo>
                <a:lnTo>
                  <a:pt x="2707" y="2512"/>
                </a:lnTo>
                <a:lnTo>
                  <a:pt x="3182" y="867"/>
                </a:lnTo>
                <a:lnTo>
                  <a:pt x="3192" y="847"/>
                </a:lnTo>
                <a:lnTo>
                  <a:pt x="3205" y="829"/>
                </a:lnTo>
                <a:lnTo>
                  <a:pt x="3223" y="816"/>
                </a:lnTo>
                <a:lnTo>
                  <a:pt x="3243" y="808"/>
                </a:lnTo>
                <a:lnTo>
                  <a:pt x="3264" y="804"/>
                </a:lnTo>
                <a:lnTo>
                  <a:pt x="3285" y="809"/>
                </a:lnTo>
                <a:lnTo>
                  <a:pt x="3306" y="819"/>
                </a:lnTo>
                <a:lnTo>
                  <a:pt x="3323" y="831"/>
                </a:lnTo>
                <a:lnTo>
                  <a:pt x="3337" y="847"/>
                </a:lnTo>
                <a:lnTo>
                  <a:pt x="3345" y="867"/>
                </a:lnTo>
                <a:lnTo>
                  <a:pt x="3628" y="1784"/>
                </a:lnTo>
                <a:lnTo>
                  <a:pt x="3801" y="1527"/>
                </a:lnTo>
                <a:lnTo>
                  <a:pt x="3814" y="1511"/>
                </a:lnTo>
                <a:lnTo>
                  <a:pt x="3832" y="1500"/>
                </a:lnTo>
                <a:lnTo>
                  <a:pt x="3852" y="1495"/>
                </a:lnTo>
                <a:lnTo>
                  <a:pt x="3873" y="1491"/>
                </a:lnTo>
                <a:lnTo>
                  <a:pt x="3896" y="1495"/>
                </a:lnTo>
                <a:lnTo>
                  <a:pt x="3915" y="1503"/>
                </a:lnTo>
                <a:lnTo>
                  <a:pt x="3932" y="1516"/>
                </a:lnTo>
                <a:lnTo>
                  <a:pt x="3945" y="1532"/>
                </a:lnTo>
                <a:lnTo>
                  <a:pt x="4154" y="1892"/>
                </a:lnTo>
                <a:lnTo>
                  <a:pt x="4657" y="1892"/>
                </a:lnTo>
                <a:lnTo>
                  <a:pt x="4706" y="1778"/>
                </a:lnTo>
                <a:lnTo>
                  <a:pt x="4748" y="1665"/>
                </a:lnTo>
                <a:lnTo>
                  <a:pt x="4779" y="1554"/>
                </a:lnTo>
                <a:lnTo>
                  <a:pt x="4803" y="1444"/>
                </a:lnTo>
                <a:lnTo>
                  <a:pt x="4817" y="1336"/>
                </a:lnTo>
                <a:lnTo>
                  <a:pt x="4821" y="1230"/>
                </a:lnTo>
                <a:lnTo>
                  <a:pt x="4817" y="1125"/>
                </a:lnTo>
                <a:lnTo>
                  <a:pt x="4802" y="1024"/>
                </a:lnTo>
                <a:lnTo>
                  <a:pt x="4779" y="922"/>
                </a:lnTo>
                <a:lnTo>
                  <a:pt x="4758" y="858"/>
                </a:lnTo>
                <a:lnTo>
                  <a:pt x="4730" y="795"/>
                </a:lnTo>
                <a:lnTo>
                  <a:pt x="4699" y="731"/>
                </a:lnTo>
                <a:lnTo>
                  <a:pt x="4661" y="667"/>
                </a:lnTo>
                <a:lnTo>
                  <a:pt x="4621" y="606"/>
                </a:lnTo>
                <a:lnTo>
                  <a:pt x="4575" y="546"/>
                </a:lnTo>
                <a:lnTo>
                  <a:pt x="4524" y="489"/>
                </a:lnTo>
                <a:lnTo>
                  <a:pt x="4469" y="435"/>
                </a:lnTo>
                <a:lnTo>
                  <a:pt x="4410" y="386"/>
                </a:lnTo>
                <a:lnTo>
                  <a:pt x="4345" y="338"/>
                </a:lnTo>
                <a:lnTo>
                  <a:pt x="4278" y="297"/>
                </a:lnTo>
                <a:lnTo>
                  <a:pt x="4204" y="260"/>
                </a:lnTo>
                <a:lnTo>
                  <a:pt x="4129" y="229"/>
                </a:lnTo>
                <a:lnTo>
                  <a:pt x="4049" y="204"/>
                </a:lnTo>
                <a:lnTo>
                  <a:pt x="3964" y="184"/>
                </a:lnTo>
                <a:lnTo>
                  <a:pt x="3878" y="173"/>
                </a:lnTo>
                <a:lnTo>
                  <a:pt x="3786" y="170"/>
                </a:lnTo>
                <a:lnTo>
                  <a:pt x="3677" y="175"/>
                </a:lnTo>
                <a:lnTo>
                  <a:pt x="3568" y="189"/>
                </a:lnTo>
                <a:lnTo>
                  <a:pt x="3456" y="215"/>
                </a:lnTo>
                <a:lnTo>
                  <a:pt x="3345" y="251"/>
                </a:lnTo>
                <a:lnTo>
                  <a:pt x="3262" y="284"/>
                </a:lnTo>
                <a:lnTo>
                  <a:pt x="3184" y="317"/>
                </a:lnTo>
                <a:lnTo>
                  <a:pt x="3112" y="348"/>
                </a:lnTo>
                <a:lnTo>
                  <a:pt x="3048" y="379"/>
                </a:lnTo>
                <a:lnTo>
                  <a:pt x="2990" y="410"/>
                </a:lnTo>
                <a:lnTo>
                  <a:pt x="2939" y="438"/>
                </a:lnTo>
                <a:lnTo>
                  <a:pt x="2893" y="464"/>
                </a:lnTo>
                <a:lnTo>
                  <a:pt x="2856" y="489"/>
                </a:lnTo>
                <a:lnTo>
                  <a:pt x="2825" y="508"/>
                </a:lnTo>
                <a:lnTo>
                  <a:pt x="2800" y="526"/>
                </a:lnTo>
                <a:lnTo>
                  <a:pt x="2782" y="538"/>
                </a:lnTo>
                <a:lnTo>
                  <a:pt x="2771" y="546"/>
                </a:lnTo>
                <a:lnTo>
                  <a:pt x="2767" y="549"/>
                </a:lnTo>
                <a:lnTo>
                  <a:pt x="2748" y="561"/>
                </a:lnTo>
                <a:lnTo>
                  <a:pt x="2727" y="567"/>
                </a:lnTo>
                <a:lnTo>
                  <a:pt x="2705" y="567"/>
                </a:lnTo>
                <a:lnTo>
                  <a:pt x="2686" y="561"/>
                </a:lnTo>
                <a:lnTo>
                  <a:pt x="2666" y="549"/>
                </a:lnTo>
                <a:lnTo>
                  <a:pt x="2661" y="546"/>
                </a:lnTo>
                <a:lnTo>
                  <a:pt x="2650" y="538"/>
                </a:lnTo>
                <a:lnTo>
                  <a:pt x="2632" y="526"/>
                </a:lnTo>
                <a:lnTo>
                  <a:pt x="2606" y="508"/>
                </a:lnTo>
                <a:lnTo>
                  <a:pt x="2575" y="489"/>
                </a:lnTo>
                <a:lnTo>
                  <a:pt x="2536" y="464"/>
                </a:lnTo>
                <a:lnTo>
                  <a:pt x="2492" y="438"/>
                </a:lnTo>
                <a:lnTo>
                  <a:pt x="2439" y="410"/>
                </a:lnTo>
                <a:lnTo>
                  <a:pt x="2382" y="379"/>
                </a:lnTo>
                <a:lnTo>
                  <a:pt x="2318" y="348"/>
                </a:lnTo>
                <a:lnTo>
                  <a:pt x="2247" y="317"/>
                </a:lnTo>
                <a:lnTo>
                  <a:pt x="2170" y="284"/>
                </a:lnTo>
                <a:lnTo>
                  <a:pt x="2087" y="251"/>
                </a:lnTo>
                <a:lnTo>
                  <a:pt x="1998" y="224"/>
                </a:lnTo>
                <a:lnTo>
                  <a:pt x="1910" y="201"/>
                </a:lnTo>
                <a:lnTo>
                  <a:pt x="1822" y="183"/>
                </a:lnTo>
                <a:lnTo>
                  <a:pt x="1734" y="173"/>
                </a:lnTo>
                <a:lnTo>
                  <a:pt x="1647" y="170"/>
                </a:lnTo>
                <a:close/>
                <a:moveTo>
                  <a:pt x="1643" y="0"/>
                </a:moveTo>
                <a:lnTo>
                  <a:pt x="1739" y="4"/>
                </a:lnTo>
                <a:lnTo>
                  <a:pt x="1837" y="14"/>
                </a:lnTo>
                <a:lnTo>
                  <a:pt x="1936" y="34"/>
                </a:lnTo>
                <a:lnTo>
                  <a:pt x="2038" y="60"/>
                </a:lnTo>
                <a:lnTo>
                  <a:pt x="2139" y="93"/>
                </a:lnTo>
                <a:lnTo>
                  <a:pt x="2234" y="129"/>
                </a:lnTo>
                <a:lnTo>
                  <a:pt x="2320" y="165"/>
                </a:lnTo>
                <a:lnTo>
                  <a:pt x="2400" y="201"/>
                </a:lnTo>
                <a:lnTo>
                  <a:pt x="2470" y="237"/>
                </a:lnTo>
                <a:lnTo>
                  <a:pt x="2534" y="269"/>
                </a:lnTo>
                <a:lnTo>
                  <a:pt x="2591" y="302"/>
                </a:lnTo>
                <a:lnTo>
                  <a:pt x="2638" y="332"/>
                </a:lnTo>
                <a:lnTo>
                  <a:pt x="2679" y="358"/>
                </a:lnTo>
                <a:lnTo>
                  <a:pt x="2712" y="379"/>
                </a:lnTo>
                <a:lnTo>
                  <a:pt x="2745" y="358"/>
                </a:lnTo>
                <a:lnTo>
                  <a:pt x="2785" y="332"/>
                </a:lnTo>
                <a:lnTo>
                  <a:pt x="2834" y="302"/>
                </a:lnTo>
                <a:lnTo>
                  <a:pt x="2890" y="269"/>
                </a:lnTo>
                <a:lnTo>
                  <a:pt x="2954" y="237"/>
                </a:lnTo>
                <a:lnTo>
                  <a:pt x="3025" y="201"/>
                </a:lnTo>
                <a:lnTo>
                  <a:pt x="3105" y="165"/>
                </a:lnTo>
                <a:lnTo>
                  <a:pt x="3190" y="129"/>
                </a:lnTo>
                <a:lnTo>
                  <a:pt x="3285" y="93"/>
                </a:lnTo>
                <a:lnTo>
                  <a:pt x="3385" y="60"/>
                </a:lnTo>
                <a:lnTo>
                  <a:pt x="3486" y="34"/>
                </a:lnTo>
                <a:lnTo>
                  <a:pt x="3584" y="14"/>
                </a:lnTo>
                <a:lnTo>
                  <a:pt x="3682" y="4"/>
                </a:lnTo>
                <a:lnTo>
                  <a:pt x="3781" y="0"/>
                </a:lnTo>
                <a:lnTo>
                  <a:pt x="3881" y="4"/>
                </a:lnTo>
                <a:lnTo>
                  <a:pt x="3977" y="16"/>
                </a:lnTo>
                <a:lnTo>
                  <a:pt x="4070" y="36"/>
                </a:lnTo>
                <a:lnTo>
                  <a:pt x="4160" y="62"/>
                </a:lnTo>
                <a:lnTo>
                  <a:pt x="4245" y="96"/>
                </a:lnTo>
                <a:lnTo>
                  <a:pt x="4325" y="134"/>
                </a:lnTo>
                <a:lnTo>
                  <a:pt x="4402" y="178"/>
                </a:lnTo>
                <a:lnTo>
                  <a:pt x="4474" y="227"/>
                </a:lnTo>
                <a:lnTo>
                  <a:pt x="4541" y="281"/>
                </a:lnTo>
                <a:lnTo>
                  <a:pt x="4604" y="338"/>
                </a:lnTo>
                <a:lnTo>
                  <a:pt x="4661" y="399"/>
                </a:lnTo>
                <a:lnTo>
                  <a:pt x="4715" y="463"/>
                </a:lnTo>
                <a:lnTo>
                  <a:pt x="4764" y="530"/>
                </a:lnTo>
                <a:lnTo>
                  <a:pt x="4808" y="597"/>
                </a:lnTo>
                <a:lnTo>
                  <a:pt x="4848" y="665"/>
                </a:lnTo>
                <a:lnTo>
                  <a:pt x="4880" y="736"/>
                </a:lnTo>
                <a:lnTo>
                  <a:pt x="4910" y="806"/>
                </a:lnTo>
                <a:lnTo>
                  <a:pt x="4932" y="876"/>
                </a:lnTo>
                <a:lnTo>
                  <a:pt x="4949" y="939"/>
                </a:lnTo>
                <a:lnTo>
                  <a:pt x="4963" y="1004"/>
                </a:lnTo>
                <a:lnTo>
                  <a:pt x="4973" y="1074"/>
                </a:lnTo>
                <a:lnTo>
                  <a:pt x="4981" y="1150"/>
                </a:lnTo>
                <a:lnTo>
                  <a:pt x="4983" y="1228"/>
                </a:lnTo>
                <a:lnTo>
                  <a:pt x="4981" y="1312"/>
                </a:lnTo>
                <a:lnTo>
                  <a:pt x="4973" y="1398"/>
                </a:lnTo>
                <a:lnTo>
                  <a:pt x="4960" y="1490"/>
                </a:lnTo>
                <a:lnTo>
                  <a:pt x="4941" y="1585"/>
                </a:lnTo>
                <a:lnTo>
                  <a:pt x="4913" y="1683"/>
                </a:lnTo>
                <a:lnTo>
                  <a:pt x="4879" y="1786"/>
                </a:lnTo>
                <a:lnTo>
                  <a:pt x="4835" y="1892"/>
                </a:lnTo>
                <a:lnTo>
                  <a:pt x="5290" y="1892"/>
                </a:lnTo>
                <a:lnTo>
                  <a:pt x="5313" y="1894"/>
                </a:lnTo>
                <a:lnTo>
                  <a:pt x="5334" y="1902"/>
                </a:lnTo>
                <a:lnTo>
                  <a:pt x="5354" y="1914"/>
                </a:lnTo>
                <a:lnTo>
                  <a:pt x="5368" y="1928"/>
                </a:lnTo>
                <a:lnTo>
                  <a:pt x="5378" y="1946"/>
                </a:lnTo>
                <a:lnTo>
                  <a:pt x="5381" y="1969"/>
                </a:lnTo>
                <a:lnTo>
                  <a:pt x="5378" y="1995"/>
                </a:lnTo>
                <a:lnTo>
                  <a:pt x="5367" y="2018"/>
                </a:lnTo>
                <a:lnTo>
                  <a:pt x="5349" y="2035"/>
                </a:lnTo>
                <a:lnTo>
                  <a:pt x="5326" y="2046"/>
                </a:lnTo>
                <a:lnTo>
                  <a:pt x="5300" y="2051"/>
                </a:lnTo>
                <a:lnTo>
                  <a:pt x="4763" y="2051"/>
                </a:lnTo>
                <a:lnTo>
                  <a:pt x="4720" y="2128"/>
                </a:lnTo>
                <a:lnTo>
                  <a:pt x="4673" y="2205"/>
                </a:lnTo>
                <a:lnTo>
                  <a:pt x="4621" y="2282"/>
                </a:lnTo>
                <a:lnTo>
                  <a:pt x="4554" y="2375"/>
                </a:lnTo>
                <a:lnTo>
                  <a:pt x="4482" y="2468"/>
                </a:lnTo>
                <a:lnTo>
                  <a:pt x="4408" y="2560"/>
                </a:lnTo>
                <a:lnTo>
                  <a:pt x="4330" y="2650"/>
                </a:lnTo>
                <a:lnTo>
                  <a:pt x="4252" y="2738"/>
                </a:lnTo>
                <a:lnTo>
                  <a:pt x="4168" y="2823"/>
                </a:lnTo>
                <a:lnTo>
                  <a:pt x="4085" y="2908"/>
                </a:lnTo>
                <a:lnTo>
                  <a:pt x="4000" y="2990"/>
                </a:lnTo>
                <a:lnTo>
                  <a:pt x="3915" y="3070"/>
                </a:lnTo>
                <a:lnTo>
                  <a:pt x="3829" y="3147"/>
                </a:lnTo>
                <a:lnTo>
                  <a:pt x="3744" y="3222"/>
                </a:lnTo>
                <a:lnTo>
                  <a:pt x="3657" y="3293"/>
                </a:lnTo>
                <a:lnTo>
                  <a:pt x="3574" y="3363"/>
                </a:lnTo>
                <a:lnTo>
                  <a:pt x="3491" y="3428"/>
                </a:lnTo>
                <a:lnTo>
                  <a:pt x="3409" y="3491"/>
                </a:lnTo>
                <a:lnTo>
                  <a:pt x="3331" y="3551"/>
                </a:lnTo>
                <a:lnTo>
                  <a:pt x="3256" y="3607"/>
                </a:lnTo>
                <a:lnTo>
                  <a:pt x="3182" y="3659"/>
                </a:lnTo>
                <a:lnTo>
                  <a:pt x="3114" y="3707"/>
                </a:lnTo>
                <a:lnTo>
                  <a:pt x="3048" y="3751"/>
                </a:lnTo>
                <a:lnTo>
                  <a:pt x="2990" y="3792"/>
                </a:lnTo>
                <a:lnTo>
                  <a:pt x="2934" y="3828"/>
                </a:lnTo>
                <a:lnTo>
                  <a:pt x="2883" y="3859"/>
                </a:lnTo>
                <a:lnTo>
                  <a:pt x="2839" y="3885"/>
                </a:lnTo>
                <a:lnTo>
                  <a:pt x="2802" y="3908"/>
                </a:lnTo>
                <a:lnTo>
                  <a:pt x="2771" y="3926"/>
                </a:lnTo>
                <a:lnTo>
                  <a:pt x="2748" y="3937"/>
                </a:lnTo>
                <a:lnTo>
                  <a:pt x="2748" y="3942"/>
                </a:lnTo>
                <a:lnTo>
                  <a:pt x="2732" y="3942"/>
                </a:lnTo>
                <a:lnTo>
                  <a:pt x="2728" y="3945"/>
                </a:lnTo>
                <a:lnTo>
                  <a:pt x="2725" y="3947"/>
                </a:lnTo>
                <a:lnTo>
                  <a:pt x="2723" y="3947"/>
                </a:lnTo>
                <a:lnTo>
                  <a:pt x="2722" y="3947"/>
                </a:lnTo>
                <a:lnTo>
                  <a:pt x="2722" y="3942"/>
                </a:lnTo>
                <a:lnTo>
                  <a:pt x="2697" y="3934"/>
                </a:lnTo>
                <a:lnTo>
                  <a:pt x="2665" y="3921"/>
                </a:lnTo>
                <a:lnTo>
                  <a:pt x="2629" y="3903"/>
                </a:lnTo>
                <a:lnTo>
                  <a:pt x="2585" y="3878"/>
                </a:lnTo>
                <a:lnTo>
                  <a:pt x="2537" y="3850"/>
                </a:lnTo>
                <a:lnTo>
                  <a:pt x="2483" y="3818"/>
                </a:lnTo>
                <a:lnTo>
                  <a:pt x="2426" y="3780"/>
                </a:lnTo>
                <a:lnTo>
                  <a:pt x="2366" y="3739"/>
                </a:lnTo>
                <a:lnTo>
                  <a:pt x="2301" y="3693"/>
                </a:lnTo>
                <a:lnTo>
                  <a:pt x="2232" y="3644"/>
                </a:lnTo>
                <a:lnTo>
                  <a:pt x="2160" y="3592"/>
                </a:lnTo>
                <a:lnTo>
                  <a:pt x="2087" y="3536"/>
                </a:lnTo>
                <a:lnTo>
                  <a:pt x="2010" y="3477"/>
                </a:lnTo>
                <a:lnTo>
                  <a:pt x="1933" y="3415"/>
                </a:lnTo>
                <a:lnTo>
                  <a:pt x="1855" y="3352"/>
                </a:lnTo>
                <a:lnTo>
                  <a:pt x="1775" y="3284"/>
                </a:lnTo>
                <a:lnTo>
                  <a:pt x="1693" y="3216"/>
                </a:lnTo>
                <a:lnTo>
                  <a:pt x="1613" y="3144"/>
                </a:lnTo>
                <a:lnTo>
                  <a:pt x="1533" y="3070"/>
                </a:lnTo>
                <a:lnTo>
                  <a:pt x="1453" y="2997"/>
                </a:lnTo>
                <a:lnTo>
                  <a:pt x="1373" y="2920"/>
                </a:lnTo>
                <a:lnTo>
                  <a:pt x="1296" y="2843"/>
                </a:lnTo>
                <a:lnTo>
                  <a:pt x="1220" y="2764"/>
                </a:lnTo>
                <a:lnTo>
                  <a:pt x="1146" y="2686"/>
                </a:lnTo>
                <a:lnTo>
                  <a:pt x="1076" y="2606"/>
                </a:lnTo>
                <a:lnTo>
                  <a:pt x="1007" y="2527"/>
                </a:lnTo>
                <a:lnTo>
                  <a:pt x="942" y="2447"/>
                </a:lnTo>
                <a:lnTo>
                  <a:pt x="882" y="2367"/>
                </a:lnTo>
                <a:lnTo>
                  <a:pt x="823" y="2287"/>
                </a:lnTo>
                <a:lnTo>
                  <a:pt x="774" y="2218"/>
                </a:lnTo>
                <a:lnTo>
                  <a:pt x="731" y="2147"/>
                </a:lnTo>
                <a:lnTo>
                  <a:pt x="82" y="2147"/>
                </a:lnTo>
                <a:lnTo>
                  <a:pt x="56" y="2144"/>
                </a:lnTo>
                <a:lnTo>
                  <a:pt x="33" y="2133"/>
                </a:lnTo>
                <a:lnTo>
                  <a:pt x="16" y="2115"/>
                </a:lnTo>
                <a:lnTo>
                  <a:pt x="5" y="2092"/>
                </a:lnTo>
                <a:lnTo>
                  <a:pt x="0" y="2066"/>
                </a:lnTo>
                <a:lnTo>
                  <a:pt x="5" y="2040"/>
                </a:lnTo>
                <a:lnTo>
                  <a:pt x="16" y="2017"/>
                </a:lnTo>
                <a:lnTo>
                  <a:pt x="33" y="2000"/>
                </a:lnTo>
                <a:lnTo>
                  <a:pt x="56" y="1989"/>
                </a:lnTo>
                <a:lnTo>
                  <a:pt x="82" y="1984"/>
                </a:lnTo>
                <a:lnTo>
                  <a:pt x="635" y="1984"/>
                </a:lnTo>
                <a:lnTo>
                  <a:pt x="583" y="1876"/>
                </a:lnTo>
                <a:lnTo>
                  <a:pt x="542" y="1771"/>
                </a:lnTo>
                <a:lnTo>
                  <a:pt x="508" y="1670"/>
                </a:lnTo>
                <a:lnTo>
                  <a:pt x="482" y="1573"/>
                </a:lnTo>
                <a:lnTo>
                  <a:pt x="462" y="1478"/>
                </a:lnTo>
                <a:lnTo>
                  <a:pt x="451" y="1390"/>
                </a:lnTo>
                <a:lnTo>
                  <a:pt x="442" y="1303"/>
                </a:lnTo>
                <a:lnTo>
                  <a:pt x="441" y="1222"/>
                </a:lnTo>
                <a:lnTo>
                  <a:pt x="444" y="1145"/>
                </a:lnTo>
                <a:lnTo>
                  <a:pt x="452" y="1071"/>
                </a:lnTo>
                <a:lnTo>
                  <a:pt x="462" y="1002"/>
                </a:lnTo>
                <a:lnTo>
                  <a:pt x="475" y="937"/>
                </a:lnTo>
                <a:lnTo>
                  <a:pt x="491" y="876"/>
                </a:lnTo>
                <a:lnTo>
                  <a:pt x="514" y="806"/>
                </a:lnTo>
                <a:lnTo>
                  <a:pt x="542" y="736"/>
                </a:lnTo>
                <a:lnTo>
                  <a:pt x="576" y="665"/>
                </a:lnTo>
                <a:lnTo>
                  <a:pt x="616" y="597"/>
                </a:lnTo>
                <a:lnTo>
                  <a:pt x="660" y="530"/>
                </a:lnTo>
                <a:lnTo>
                  <a:pt x="707" y="463"/>
                </a:lnTo>
                <a:lnTo>
                  <a:pt x="761" y="399"/>
                </a:lnTo>
                <a:lnTo>
                  <a:pt x="820" y="338"/>
                </a:lnTo>
                <a:lnTo>
                  <a:pt x="883" y="281"/>
                </a:lnTo>
                <a:lnTo>
                  <a:pt x="950" y="227"/>
                </a:lnTo>
                <a:lnTo>
                  <a:pt x="1022" y="178"/>
                </a:lnTo>
                <a:lnTo>
                  <a:pt x="1099" y="134"/>
                </a:lnTo>
                <a:lnTo>
                  <a:pt x="1179" y="96"/>
                </a:lnTo>
                <a:lnTo>
                  <a:pt x="1264" y="62"/>
                </a:lnTo>
                <a:lnTo>
                  <a:pt x="1352" y="36"/>
                </a:lnTo>
                <a:lnTo>
                  <a:pt x="1445" y="16"/>
                </a:lnTo>
                <a:lnTo>
                  <a:pt x="1541" y="4"/>
                </a:lnTo>
                <a:lnTo>
                  <a:pt x="1643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56" name="Group 55"/>
          <p:cNvGrpSpPr/>
          <p:nvPr/>
        </p:nvGrpSpPr>
        <p:grpSpPr>
          <a:xfrm>
            <a:off x="5351801" y="4962817"/>
            <a:ext cx="467318" cy="467032"/>
            <a:chOff x="-7300913" y="-149225"/>
            <a:chExt cx="5207000" cy="5203825"/>
          </a:xfrm>
          <a:solidFill>
            <a:schemeClr val="bg1"/>
          </a:solidFill>
        </p:grpSpPr>
        <p:sp>
          <p:nvSpPr>
            <p:cNvPr id="60" name="Freeform 11"/>
            <p:cNvSpPr>
              <a:spLocks/>
            </p:cNvSpPr>
            <p:nvPr/>
          </p:nvSpPr>
          <p:spPr bwMode="auto">
            <a:xfrm>
              <a:off x="-3133725" y="227013"/>
              <a:ext cx="488950" cy="490538"/>
            </a:xfrm>
            <a:custGeom>
              <a:avLst/>
              <a:gdLst>
                <a:gd name="T0" fmla="*/ 115 w 616"/>
                <a:gd name="T1" fmla="*/ 0 h 618"/>
                <a:gd name="T2" fmla="*/ 145 w 616"/>
                <a:gd name="T3" fmla="*/ 6 h 618"/>
                <a:gd name="T4" fmla="*/ 223 w 616"/>
                <a:gd name="T5" fmla="*/ 40 h 618"/>
                <a:gd name="T6" fmla="*/ 299 w 616"/>
                <a:gd name="T7" fmla="*/ 82 h 618"/>
                <a:gd name="T8" fmla="*/ 367 w 616"/>
                <a:gd name="T9" fmla="*/ 132 h 618"/>
                <a:gd name="T10" fmla="*/ 430 w 616"/>
                <a:gd name="T11" fmla="*/ 188 h 618"/>
                <a:gd name="T12" fmla="*/ 486 w 616"/>
                <a:gd name="T13" fmla="*/ 250 h 618"/>
                <a:gd name="T14" fmla="*/ 536 w 616"/>
                <a:gd name="T15" fmla="*/ 319 h 618"/>
                <a:gd name="T16" fmla="*/ 576 w 616"/>
                <a:gd name="T17" fmla="*/ 393 h 618"/>
                <a:gd name="T18" fmla="*/ 610 w 616"/>
                <a:gd name="T19" fmla="*/ 473 h 618"/>
                <a:gd name="T20" fmla="*/ 616 w 616"/>
                <a:gd name="T21" fmla="*/ 501 h 618"/>
                <a:gd name="T22" fmla="*/ 614 w 616"/>
                <a:gd name="T23" fmla="*/ 531 h 618"/>
                <a:gd name="T24" fmla="*/ 606 w 616"/>
                <a:gd name="T25" fmla="*/ 557 h 618"/>
                <a:gd name="T26" fmla="*/ 590 w 616"/>
                <a:gd name="T27" fmla="*/ 580 h 618"/>
                <a:gd name="T28" fmla="*/ 570 w 616"/>
                <a:gd name="T29" fmla="*/ 598 h 618"/>
                <a:gd name="T30" fmla="*/ 544 w 616"/>
                <a:gd name="T31" fmla="*/ 612 h 618"/>
                <a:gd name="T32" fmla="*/ 506 w 616"/>
                <a:gd name="T33" fmla="*/ 618 h 618"/>
                <a:gd name="T34" fmla="*/ 480 w 616"/>
                <a:gd name="T35" fmla="*/ 616 h 618"/>
                <a:gd name="T36" fmla="*/ 456 w 616"/>
                <a:gd name="T37" fmla="*/ 606 h 618"/>
                <a:gd name="T38" fmla="*/ 434 w 616"/>
                <a:gd name="T39" fmla="*/ 590 h 618"/>
                <a:gd name="T40" fmla="*/ 416 w 616"/>
                <a:gd name="T41" fmla="*/ 570 h 618"/>
                <a:gd name="T42" fmla="*/ 404 w 616"/>
                <a:gd name="T43" fmla="*/ 547 h 618"/>
                <a:gd name="T44" fmla="*/ 377 w 616"/>
                <a:gd name="T45" fmla="*/ 483 h 618"/>
                <a:gd name="T46" fmla="*/ 341 w 616"/>
                <a:gd name="T47" fmla="*/ 423 h 618"/>
                <a:gd name="T48" fmla="*/ 299 w 616"/>
                <a:gd name="T49" fmla="*/ 367 h 618"/>
                <a:gd name="T50" fmla="*/ 249 w 616"/>
                <a:gd name="T51" fmla="*/ 319 h 618"/>
                <a:gd name="T52" fmla="*/ 195 w 616"/>
                <a:gd name="T53" fmla="*/ 275 h 618"/>
                <a:gd name="T54" fmla="*/ 135 w 616"/>
                <a:gd name="T55" fmla="*/ 242 h 618"/>
                <a:gd name="T56" fmla="*/ 71 w 616"/>
                <a:gd name="T57" fmla="*/ 214 h 618"/>
                <a:gd name="T58" fmla="*/ 45 w 616"/>
                <a:gd name="T59" fmla="*/ 200 h 618"/>
                <a:gd name="T60" fmla="*/ 24 w 616"/>
                <a:gd name="T61" fmla="*/ 180 h 618"/>
                <a:gd name="T62" fmla="*/ 10 w 616"/>
                <a:gd name="T63" fmla="*/ 158 h 618"/>
                <a:gd name="T64" fmla="*/ 0 w 616"/>
                <a:gd name="T65" fmla="*/ 130 h 618"/>
                <a:gd name="T66" fmla="*/ 0 w 616"/>
                <a:gd name="T67" fmla="*/ 102 h 618"/>
                <a:gd name="T68" fmla="*/ 6 w 616"/>
                <a:gd name="T69" fmla="*/ 74 h 618"/>
                <a:gd name="T70" fmla="*/ 18 w 616"/>
                <a:gd name="T71" fmla="*/ 48 h 618"/>
                <a:gd name="T72" fmla="*/ 38 w 616"/>
                <a:gd name="T73" fmla="*/ 26 h 618"/>
                <a:gd name="T74" fmla="*/ 61 w 616"/>
                <a:gd name="T75" fmla="*/ 12 h 618"/>
                <a:gd name="T76" fmla="*/ 87 w 616"/>
                <a:gd name="T77" fmla="*/ 2 h 618"/>
                <a:gd name="T78" fmla="*/ 115 w 616"/>
                <a:gd name="T79" fmla="*/ 0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6" h="618">
                  <a:moveTo>
                    <a:pt x="115" y="0"/>
                  </a:moveTo>
                  <a:lnTo>
                    <a:pt x="145" y="6"/>
                  </a:lnTo>
                  <a:lnTo>
                    <a:pt x="223" y="40"/>
                  </a:lnTo>
                  <a:lnTo>
                    <a:pt x="299" y="82"/>
                  </a:lnTo>
                  <a:lnTo>
                    <a:pt x="367" y="132"/>
                  </a:lnTo>
                  <a:lnTo>
                    <a:pt x="430" y="188"/>
                  </a:lnTo>
                  <a:lnTo>
                    <a:pt x="486" y="250"/>
                  </a:lnTo>
                  <a:lnTo>
                    <a:pt x="536" y="319"/>
                  </a:lnTo>
                  <a:lnTo>
                    <a:pt x="576" y="393"/>
                  </a:lnTo>
                  <a:lnTo>
                    <a:pt x="610" y="473"/>
                  </a:lnTo>
                  <a:lnTo>
                    <a:pt x="616" y="501"/>
                  </a:lnTo>
                  <a:lnTo>
                    <a:pt x="614" y="531"/>
                  </a:lnTo>
                  <a:lnTo>
                    <a:pt x="606" y="557"/>
                  </a:lnTo>
                  <a:lnTo>
                    <a:pt x="590" y="580"/>
                  </a:lnTo>
                  <a:lnTo>
                    <a:pt x="570" y="598"/>
                  </a:lnTo>
                  <a:lnTo>
                    <a:pt x="544" y="612"/>
                  </a:lnTo>
                  <a:lnTo>
                    <a:pt x="506" y="618"/>
                  </a:lnTo>
                  <a:lnTo>
                    <a:pt x="480" y="616"/>
                  </a:lnTo>
                  <a:lnTo>
                    <a:pt x="456" y="606"/>
                  </a:lnTo>
                  <a:lnTo>
                    <a:pt x="434" y="590"/>
                  </a:lnTo>
                  <a:lnTo>
                    <a:pt x="416" y="570"/>
                  </a:lnTo>
                  <a:lnTo>
                    <a:pt x="404" y="547"/>
                  </a:lnTo>
                  <a:lnTo>
                    <a:pt x="377" y="483"/>
                  </a:lnTo>
                  <a:lnTo>
                    <a:pt x="341" y="423"/>
                  </a:lnTo>
                  <a:lnTo>
                    <a:pt x="299" y="367"/>
                  </a:lnTo>
                  <a:lnTo>
                    <a:pt x="249" y="319"/>
                  </a:lnTo>
                  <a:lnTo>
                    <a:pt x="195" y="275"/>
                  </a:lnTo>
                  <a:lnTo>
                    <a:pt x="135" y="242"/>
                  </a:lnTo>
                  <a:lnTo>
                    <a:pt x="71" y="214"/>
                  </a:lnTo>
                  <a:lnTo>
                    <a:pt x="45" y="200"/>
                  </a:lnTo>
                  <a:lnTo>
                    <a:pt x="24" y="180"/>
                  </a:lnTo>
                  <a:lnTo>
                    <a:pt x="10" y="158"/>
                  </a:lnTo>
                  <a:lnTo>
                    <a:pt x="0" y="130"/>
                  </a:lnTo>
                  <a:lnTo>
                    <a:pt x="0" y="102"/>
                  </a:lnTo>
                  <a:lnTo>
                    <a:pt x="6" y="74"/>
                  </a:lnTo>
                  <a:lnTo>
                    <a:pt x="18" y="48"/>
                  </a:lnTo>
                  <a:lnTo>
                    <a:pt x="38" y="26"/>
                  </a:lnTo>
                  <a:lnTo>
                    <a:pt x="61" y="12"/>
                  </a:lnTo>
                  <a:lnTo>
                    <a:pt x="87" y="2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-5391150" y="-149225"/>
              <a:ext cx="3122613" cy="2949575"/>
            </a:xfrm>
            <a:custGeom>
              <a:avLst/>
              <a:gdLst>
                <a:gd name="T0" fmla="*/ 1496 w 3936"/>
                <a:gd name="T1" fmla="*/ 36 h 3716"/>
                <a:gd name="T2" fmla="*/ 1730 w 3936"/>
                <a:gd name="T3" fmla="*/ 136 h 3716"/>
                <a:gd name="T4" fmla="*/ 1742 w 3936"/>
                <a:gd name="T5" fmla="*/ 245 h 3716"/>
                <a:gd name="T6" fmla="*/ 1654 w 3936"/>
                <a:gd name="T7" fmla="*/ 309 h 3716"/>
                <a:gd name="T8" fmla="*/ 1405 w 3936"/>
                <a:gd name="T9" fmla="*/ 239 h 3716"/>
                <a:gd name="T10" fmla="*/ 992 w 3936"/>
                <a:gd name="T11" fmla="*/ 241 h 3716"/>
                <a:gd name="T12" fmla="*/ 623 w 3936"/>
                <a:gd name="T13" fmla="*/ 409 h 3716"/>
                <a:gd name="T14" fmla="*/ 353 w 3936"/>
                <a:gd name="T15" fmla="*/ 706 h 3716"/>
                <a:gd name="T16" fmla="*/ 224 w 3936"/>
                <a:gd name="T17" fmla="*/ 1094 h 3716"/>
                <a:gd name="T18" fmla="*/ 262 w 3936"/>
                <a:gd name="T19" fmla="*/ 1513 h 3716"/>
                <a:gd name="T20" fmla="*/ 449 w 3936"/>
                <a:gd name="T21" fmla="*/ 1981 h 3716"/>
                <a:gd name="T22" fmla="*/ 776 w 3936"/>
                <a:gd name="T23" fmla="*/ 2474 h 3716"/>
                <a:gd name="T24" fmla="*/ 1233 w 3936"/>
                <a:gd name="T25" fmla="*/ 2954 h 3716"/>
                <a:gd name="T26" fmla="*/ 1807 w 3936"/>
                <a:gd name="T27" fmla="*/ 3385 h 3716"/>
                <a:gd name="T28" fmla="*/ 2430 w 3936"/>
                <a:gd name="T29" fmla="*/ 3177 h 3716"/>
                <a:gd name="T30" fmla="*/ 2946 w 3936"/>
                <a:gd name="T31" fmla="*/ 2719 h 3716"/>
                <a:gd name="T32" fmla="*/ 3339 w 3936"/>
                <a:gd name="T33" fmla="*/ 2227 h 3716"/>
                <a:gd name="T34" fmla="*/ 3599 w 3936"/>
                <a:gd name="T35" fmla="*/ 1742 h 3716"/>
                <a:gd name="T36" fmla="*/ 3712 w 3936"/>
                <a:gd name="T37" fmla="*/ 1302 h 3716"/>
                <a:gd name="T38" fmla="*/ 3666 w 3936"/>
                <a:gd name="T39" fmla="*/ 891 h 3716"/>
                <a:gd name="T40" fmla="*/ 3463 w 3936"/>
                <a:gd name="T41" fmla="*/ 544 h 3716"/>
                <a:gd name="T42" fmla="*/ 3140 w 3936"/>
                <a:gd name="T43" fmla="*/ 307 h 3716"/>
                <a:gd name="T44" fmla="*/ 2733 w 3936"/>
                <a:gd name="T45" fmla="*/ 219 h 3716"/>
                <a:gd name="T46" fmla="*/ 2338 w 3936"/>
                <a:gd name="T47" fmla="*/ 303 h 3716"/>
                <a:gd name="T48" fmla="*/ 2011 w 3936"/>
                <a:gd name="T49" fmla="*/ 534 h 3716"/>
                <a:gd name="T50" fmla="*/ 1825 w 3936"/>
                <a:gd name="T51" fmla="*/ 811 h 3716"/>
                <a:gd name="T52" fmla="*/ 1724 w 3936"/>
                <a:gd name="T53" fmla="*/ 849 h 3716"/>
                <a:gd name="T54" fmla="*/ 1640 w 3936"/>
                <a:gd name="T55" fmla="*/ 779 h 3716"/>
                <a:gd name="T56" fmla="*/ 1696 w 3936"/>
                <a:gd name="T57" fmla="*/ 592 h 3716"/>
                <a:gd name="T58" fmla="*/ 1995 w 3936"/>
                <a:gd name="T59" fmla="*/ 255 h 3716"/>
                <a:gd name="T60" fmla="*/ 2394 w 3936"/>
                <a:gd name="T61" fmla="*/ 50 h 3716"/>
                <a:gd name="T62" fmla="*/ 2857 w 3936"/>
                <a:gd name="T63" fmla="*/ 6 h 3716"/>
                <a:gd name="T64" fmla="*/ 3305 w 3936"/>
                <a:gd name="T65" fmla="*/ 145 h 3716"/>
                <a:gd name="T66" fmla="*/ 3660 w 3936"/>
                <a:gd name="T67" fmla="*/ 439 h 3716"/>
                <a:gd name="T68" fmla="*/ 3882 w 3936"/>
                <a:gd name="T69" fmla="*/ 845 h 3716"/>
                <a:gd name="T70" fmla="*/ 3932 w 3936"/>
                <a:gd name="T71" fmla="*/ 1306 h 3716"/>
                <a:gd name="T72" fmla="*/ 3824 w 3936"/>
                <a:gd name="T73" fmla="*/ 1764 h 3716"/>
                <a:gd name="T74" fmla="*/ 3575 w 3936"/>
                <a:gd name="T75" fmla="*/ 2268 h 3716"/>
                <a:gd name="T76" fmla="*/ 3188 w 3936"/>
                <a:gd name="T77" fmla="*/ 2783 h 3716"/>
                <a:gd name="T78" fmla="*/ 2669 w 3936"/>
                <a:gd name="T79" fmla="*/ 3273 h 3716"/>
                <a:gd name="T80" fmla="*/ 2021 w 3936"/>
                <a:gd name="T81" fmla="*/ 3702 h 3716"/>
                <a:gd name="T82" fmla="*/ 1915 w 3936"/>
                <a:gd name="T83" fmla="*/ 3702 h 3716"/>
                <a:gd name="T84" fmla="*/ 1267 w 3936"/>
                <a:gd name="T85" fmla="*/ 3273 h 3716"/>
                <a:gd name="T86" fmla="*/ 748 w 3936"/>
                <a:gd name="T87" fmla="*/ 2783 h 3716"/>
                <a:gd name="T88" fmla="*/ 361 w 3936"/>
                <a:gd name="T89" fmla="*/ 2268 h 3716"/>
                <a:gd name="T90" fmla="*/ 112 w 3936"/>
                <a:gd name="T91" fmla="*/ 1764 h 3716"/>
                <a:gd name="T92" fmla="*/ 4 w 3936"/>
                <a:gd name="T93" fmla="*/ 1306 h 3716"/>
                <a:gd name="T94" fmla="*/ 54 w 3936"/>
                <a:gd name="T95" fmla="*/ 845 h 3716"/>
                <a:gd name="T96" fmla="*/ 276 w 3936"/>
                <a:gd name="T97" fmla="*/ 439 h 3716"/>
                <a:gd name="T98" fmla="*/ 631 w 3936"/>
                <a:gd name="T99" fmla="*/ 145 h 3716"/>
                <a:gd name="T100" fmla="*/ 1079 w 3936"/>
                <a:gd name="T101" fmla="*/ 6 h 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36" h="3716">
                  <a:moveTo>
                    <a:pt x="1203" y="0"/>
                  </a:moveTo>
                  <a:lnTo>
                    <a:pt x="1303" y="4"/>
                  </a:lnTo>
                  <a:lnTo>
                    <a:pt x="1401" y="16"/>
                  </a:lnTo>
                  <a:lnTo>
                    <a:pt x="1496" y="36"/>
                  </a:lnTo>
                  <a:lnTo>
                    <a:pt x="1592" y="64"/>
                  </a:lnTo>
                  <a:lnTo>
                    <a:pt x="1684" y="100"/>
                  </a:lnTo>
                  <a:lnTo>
                    <a:pt x="1710" y="116"/>
                  </a:lnTo>
                  <a:lnTo>
                    <a:pt x="1730" y="136"/>
                  </a:lnTo>
                  <a:lnTo>
                    <a:pt x="1742" y="161"/>
                  </a:lnTo>
                  <a:lnTo>
                    <a:pt x="1750" y="187"/>
                  </a:lnTo>
                  <a:lnTo>
                    <a:pt x="1750" y="217"/>
                  </a:lnTo>
                  <a:lnTo>
                    <a:pt x="1742" y="245"/>
                  </a:lnTo>
                  <a:lnTo>
                    <a:pt x="1726" y="269"/>
                  </a:lnTo>
                  <a:lnTo>
                    <a:pt x="1706" y="289"/>
                  </a:lnTo>
                  <a:lnTo>
                    <a:pt x="1680" y="303"/>
                  </a:lnTo>
                  <a:lnTo>
                    <a:pt x="1654" y="309"/>
                  </a:lnTo>
                  <a:lnTo>
                    <a:pt x="1626" y="309"/>
                  </a:lnTo>
                  <a:lnTo>
                    <a:pt x="1596" y="301"/>
                  </a:lnTo>
                  <a:lnTo>
                    <a:pt x="1502" y="265"/>
                  </a:lnTo>
                  <a:lnTo>
                    <a:pt x="1405" y="239"/>
                  </a:lnTo>
                  <a:lnTo>
                    <a:pt x="1305" y="223"/>
                  </a:lnTo>
                  <a:lnTo>
                    <a:pt x="1203" y="219"/>
                  </a:lnTo>
                  <a:lnTo>
                    <a:pt x="1095" y="225"/>
                  </a:lnTo>
                  <a:lnTo>
                    <a:pt x="992" y="241"/>
                  </a:lnTo>
                  <a:lnTo>
                    <a:pt x="892" y="269"/>
                  </a:lnTo>
                  <a:lnTo>
                    <a:pt x="796" y="307"/>
                  </a:lnTo>
                  <a:lnTo>
                    <a:pt x="706" y="353"/>
                  </a:lnTo>
                  <a:lnTo>
                    <a:pt x="623" y="409"/>
                  </a:lnTo>
                  <a:lnTo>
                    <a:pt x="543" y="472"/>
                  </a:lnTo>
                  <a:lnTo>
                    <a:pt x="473" y="544"/>
                  </a:lnTo>
                  <a:lnTo>
                    <a:pt x="409" y="622"/>
                  </a:lnTo>
                  <a:lnTo>
                    <a:pt x="353" y="706"/>
                  </a:lnTo>
                  <a:lnTo>
                    <a:pt x="306" y="797"/>
                  </a:lnTo>
                  <a:lnTo>
                    <a:pt x="270" y="891"/>
                  </a:lnTo>
                  <a:lnTo>
                    <a:pt x="242" y="991"/>
                  </a:lnTo>
                  <a:lnTo>
                    <a:pt x="224" y="1094"/>
                  </a:lnTo>
                  <a:lnTo>
                    <a:pt x="220" y="1202"/>
                  </a:lnTo>
                  <a:lnTo>
                    <a:pt x="224" y="1302"/>
                  </a:lnTo>
                  <a:lnTo>
                    <a:pt x="238" y="1405"/>
                  </a:lnTo>
                  <a:lnTo>
                    <a:pt x="262" y="1513"/>
                  </a:lnTo>
                  <a:lnTo>
                    <a:pt x="296" y="1627"/>
                  </a:lnTo>
                  <a:lnTo>
                    <a:pt x="337" y="1742"/>
                  </a:lnTo>
                  <a:lnTo>
                    <a:pt x="389" y="1860"/>
                  </a:lnTo>
                  <a:lnTo>
                    <a:pt x="449" y="1981"/>
                  </a:lnTo>
                  <a:lnTo>
                    <a:pt x="519" y="2103"/>
                  </a:lnTo>
                  <a:lnTo>
                    <a:pt x="597" y="2227"/>
                  </a:lnTo>
                  <a:lnTo>
                    <a:pt x="683" y="2350"/>
                  </a:lnTo>
                  <a:lnTo>
                    <a:pt x="776" y="2474"/>
                  </a:lnTo>
                  <a:lnTo>
                    <a:pt x="878" y="2597"/>
                  </a:lnTo>
                  <a:lnTo>
                    <a:pt x="990" y="2719"/>
                  </a:lnTo>
                  <a:lnTo>
                    <a:pt x="1107" y="2836"/>
                  </a:lnTo>
                  <a:lnTo>
                    <a:pt x="1233" y="2954"/>
                  </a:lnTo>
                  <a:lnTo>
                    <a:pt x="1365" y="3068"/>
                  </a:lnTo>
                  <a:lnTo>
                    <a:pt x="1506" y="3177"/>
                  </a:lnTo>
                  <a:lnTo>
                    <a:pt x="1652" y="3285"/>
                  </a:lnTo>
                  <a:lnTo>
                    <a:pt x="1807" y="3385"/>
                  </a:lnTo>
                  <a:lnTo>
                    <a:pt x="1969" y="3480"/>
                  </a:lnTo>
                  <a:lnTo>
                    <a:pt x="2129" y="3385"/>
                  </a:lnTo>
                  <a:lnTo>
                    <a:pt x="2284" y="3285"/>
                  </a:lnTo>
                  <a:lnTo>
                    <a:pt x="2430" y="3177"/>
                  </a:lnTo>
                  <a:lnTo>
                    <a:pt x="2571" y="3068"/>
                  </a:lnTo>
                  <a:lnTo>
                    <a:pt x="2703" y="2954"/>
                  </a:lnTo>
                  <a:lnTo>
                    <a:pt x="2829" y="2836"/>
                  </a:lnTo>
                  <a:lnTo>
                    <a:pt x="2946" y="2719"/>
                  </a:lnTo>
                  <a:lnTo>
                    <a:pt x="3058" y="2597"/>
                  </a:lnTo>
                  <a:lnTo>
                    <a:pt x="3160" y="2474"/>
                  </a:lnTo>
                  <a:lnTo>
                    <a:pt x="3253" y="2350"/>
                  </a:lnTo>
                  <a:lnTo>
                    <a:pt x="3339" y="2227"/>
                  </a:lnTo>
                  <a:lnTo>
                    <a:pt x="3417" y="2103"/>
                  </a:lnTo>
                  <a:lnTo>
                    <a:pt x="3487" y="1981"/>
                  </a:lnTo>
                  <a:lnTo>
                    <a:pt x="3547" y="1860"/>
                  </a:lnTo>
                  <a:lnTo>
                    <a:pt x="3599" y="1742"/>
                  </a:lnTo>
                  <a:lnTo>
                    <a:pt x="3640" y="1627"/>
                  </a:lnTo>
                  <a:lnTo>
                    <a:pt x="3674" y="1513"/>
                  </a:lnTo>
                  <a:lnTo>
                    <a:pt x="3698" y="1405"/>
                  </a:lnTo>
                  <a:lnTo>
                    <a:pt x="3712" y="1302"/>
                  </a:lnTo>
                  <a:lnTo>
                    <a:pt x="3718" y="1202"/>
                  </a:lnTo>
                  <a:lnTo>
                    <a:pt x="3712" y="1094"/>
                  </a:lnTo>
                  <a:lnTo>
                    <a:pt x="3694" y="991"/>
                  </a:lnTo>
                  <a:lnTo>
                    <a:pt x="3666" y="891"/>
                  </a:lnTo>
                  <a:lnTo>
                    <a:pt x="3630" y="797"/>
                  </a:lnTo>
                  <a:lnTo>
                    <a:pt x="3583" y="706"/>
                  </a:lnTo>
                  <a:lnTo>
                    <a:pt x="3527" y="622"/>
                  </a:lnTo>
                  <a:lnTo>
                    <a:pt x="3463" y="544"/>
                  </a:lnTo>
                  <a:lnTo>
                    <a:pt x="3393" y="472"/>
                  </a:lnTo>
                  <a:lnTo>
                    <a:pt x="3313" y="409"/>
                  </a:lnTo>
                  <a:lnTo>
                    <a:pt x="3230" y="353"/>
                  </a:lnTo>
                  <a:lnTo>
                    <a:pt x="3140" y="307"/>
                  </a:lnTo>
                  <a:lnTo>
                    <a:pt x="3044" y="269"/>
                  </a:lnTo>
                  <a:lnTo>
                    <a:pt x="2944" y="241"/>
                  </a:lnTo>
                  <a:lnTo>
                    <a:pt x="2841" y="225"/>
                  </a:lnTo>
                  <a:lnTo>
                    <a:pt x="2733" y="219"/>
                  </a:lnTo>
                  <a:lnTo>
                    <a:pt x="2631" y="225"/>
                  </a:lnTo>
                  <a:lnTo>
                    <a:pt x="2529" y="241"/>
                  </a:lnTo>
                  <a:lnTo>
                    <a:pt x="2432" y="267"/>
                  </a:lnTo>
                  <a:lnTo>
                    <a:pt x="2338" y="303"/>
                  </a:lnTo>
                  <a:lnTo>
                    <a:pt x="2248" y="347"/>
                  </a:lnTo>
                  <a:lnTo>
                    <a:pt x="2162" y="401"/>
                  </a:lnTo>
                  <a:lnTo>
                    <a:pt x="2085" y="464"/>
                  </a:lnTo>
                  <a:lnTo>
                    <a:pt x="2011" y="534"/>
                  </a:lnTo>
                  <a:lnTo>
                    <a:pt x="1947" y="612"/>
                  </a:lnTo>
                  <a:lnTo>
                    <a:pt x="1889" y="696"/>
                  </a:lnTo>
                  <a:lnTo>
                    <a:pt x="1841" y="787"/>
                  </a:lnTo>
                  <a:lnTo>
                    <a:pt x="1825" y="811"/>
                  </a:lnTo>
                  <a:lnTo>
                    <a:pt x="1803" y="831"/>
                  </a:lnTo>
                  <a:lnTo>
                    <a:pt x="1780" y="843"/>
                  </a:lnTo>
                  <a:lnTo>
                    <a:pt x="1752" y="849"/>
                  </a:lnTo>
                  <a:lnTo>
                    <a:pt x="1724" y="849"/>
                  </a:lnTo>
                  <a:lnTo>
                    <a:pt x="1696" y="841"/>
                  </a:lnTo>
                  <a:lnTo>
                    <a:pt x="1672" y="825"/>
                  </a:lnTo>
                  <a:lnTo>
                    <a:pt x="1652" y="803"/>
                  </a:lnTo>
                  <a:lnTo>
                    <a:pt x="1640" y="779"/>
                  </a:lnTo>
                  <a:lnTo>
                    <a:pt x="1634" y="751"/>
                  </a:lnTo>
                  <a:lnTo>
                    <a:pt x="1634" y="724"/>
                  </a:lnTo>
                  <a:lnTo>
                    <a:pt x="1642" y="696"/>
                  </a:lnTo>
                  <a:lnTo>
                    <a:pt x="1696" y="592"/>
                  </a:lnTo>
                  <a:lnTo>
                    <a:pt x="1760" y="496"/>
                  </a:lnTo>
                  <a:lnTo>
                    <a:pt x="1831" y="409"/>
                  </a:lnTo>
                  <a:lnTo>
                    <a:pt x="1909" y="327"/>
                  </a:lnTo>
                  <a:lnTo>
                    <a:pt x="1995" y="255"/>
                  </a:lnTo>
                  <a:lnTo>
                    <a:pt x="2087" y="189"/>
                  </a:lnTo>
                  <a:lnTo>
                    <a:pt x="2184" y="134"/>
                  </a:lnTo>
                  <a:lnTo>
                    <a:pt x="2288" y="86"/>
                  </a:lnTo>
                  <a:lnTo>
                    <a:pt x="2394" y="50"/>
                  </a:lnTo>
                  <a:lnTo>
                    <a:pt x="2504" y="22"/>
                  </a:lnTo>
                  <a:lnTo>
                    <a:pt x="2617" y="6"/>
                  </a:lnTo>
                  <a:lnTo>
                    <a:pt x="2733" y="0"/>
                  </a:lnTo>
                  <a:lnTo>
                    <a:pt x="2857" y="6"/>
                  </a:lnTo>
                  <a:lnTo>
                    <a:pt x="2976" y="24"/>
                  </a:lnTo>
                  <a:lnTo>
                    <a:pt x="3090" y="54"/>
                  </a:lnTo>
                  <a:lnTo>
                    <a:pt x="3202" y="96"/>
                  </a:lnTo>
                  <a:lnTo>
                    <a:pt x="3305" y="145"/>
                  </a:lnTo>
                  <a:lnTo>
                    <a:pt x="3405" y="205"/>
                  </a:lnTo>
                  <a:lnTo>
                    <a:pt x="3499" y="275"/>
                  </a:lnTo>
                  <a:lnTo>
                    <a:pt x="3583" y="353"/>
                  </a:lnTo>
                  <a:lnTo>
                    <a:pt x="3660" y="439"/>
                  </a:lnTo>
                  <a:lnTo>
                    <a:pt x="3730" y="530"/>
                  </a:lnTo>
                  <a:lnTo>
                    <a:pt x="3790" y="630"/>
                  </a:lnTo>
                  <a:lnTo>
                    <a:pt x="3842" y="736"/>
                  </a:lnTo>
                  <a:lnTo>
                    <a:pt x="3882" y="845"/>
                  </a:lnTo>
                  <a:lnTo>
                    <a:pt x="3912" y="961"/>
                  </a:lnTo>
                  <a:lnTo>
                    <a:pt x="3930" y="1080"/>
                  </a:lnTo>
                  <a:lnTo>
                    <a:pt x="3936" y="1202"/>
                  </a:lnTo>
                  <a:lnTo>
                    <a:pt x="3932" y="1306"/>
                  </a:lnTo>
                  <a:lnTo>
                    <a:pt x="3918" y="1413"/>
                  </a:lnTo>
                  <a:lnTo>
                    <a:pt x="3896" y="1527"/>
                  </a:lnTo>
                  <a:lnTo>
                    <a:pt x="3864" y="1644"/>
                  </a:lnTo>
                  <a:lnTo>
                    <a:pt x="3824" y="1764"/>
                  </a:lnTo>
                  <a:lnTo>
                    <a:pt x="3774" y="1888"/>
                  </a:lnTo>
                  <a:lnTo>
                    <a:pt x="3716" y="2013"/>
                  </a:lnTo>
                  <a:lnTo>
                    <a:pt x="3648" y="2141"/>
                  </a:lnTo>
                  <a:lnTo>
                    <a:pt x="3575" y="2268"/>
                  </a:lnTo>
                  <a:lnTo>
                    <a:pt x="3491" y="2398"/>
                  </a:lnTo>
                  <a:lnTo>
                    <a:pt x="3397" y="2528"/>
                  </a:lnTo>
                  <a:lnTo>
                    <a:pt x="3297" y="2655"/>
                  </a:lnTo>
                  <a:lnTo>
                    <a:pt x="3188" y="2783"/>
                  </a:lnTo>
                  <a:lnTo>
                    <a:pt x="3070" y="2908"/>
                  </a:lnTo>
                  <a:lnTo>
                    <a:pt x="2944" y="3034"/>
                  </a:lnTo>
                  <a:lnTo>
                    <a:pt x="2811" y="3153"/>
                  </a:lnTo>
                  <a:lnTo>
                    <a:pt x="2669" y="3273"/>
                  </a:lnTo>
                  <a:lnTo>
                    <a:pt x="2518" y="3387"/>
                  </a:lnTo>
                  <a:lnTo>
                    <a:pt x="2360" y="3496"/>
                  </a:lnTo>
                  <a:lnTo>
                    <a:pt x="2194" y="3602"/>
                  </a:lnTo>
                  <a:lnTo>
                    <a:pt x="2021" y="3702"/>
                  </a:lnTo>
                  <a:lnTo>
                    <a:pt x="1995" y="3712"/>
                  </a:lnTo>
                  <a:lnTo>
                    <a:pt x="1969" y="3716"/>
                  </a:lnTo>
                  <a:lnTo>
                    <a:pt x="1941" y="3712"/>
                  </a:lnTo>
                  <a:lnTo>
                    <a:pt x="1915" y="3702"/>
                  </a:lnTo>
                  <a:lnTo>
                    <a:pt x="1742" y="3602"/>
                  </a:lnTo>
                  <a:lnTo>
                    <a:pt x="1576" y="3496"/>
                  </a:lnTo>
                  <a:lnTo>
                    <a:pt x="1419" y="3387"/>
                  </a:lnTo>
                  <a:lnTo>
                    <a:pt x="1267" y="3273"/>
                  </a:lnTo>
                  <a:lnTo>
                    <a:pt x="1125" y="3153"/>
                  </a:lnTo>
                  <a:lnTo>
                    <a:pt x="992" y="3034"/>
                  </a:lnTo>
                  <a:lnTo>
                    <a:pt x="866" y="2908"/>
                  </a:lnTo>
                  <a:lnTo>
                    <a:pt x="748" y="2783"/>
                  </a:lnTo>
                  <a:lnTo>
                    <a:pt x="639" y="2655"/>
                  </a:lnTo>
                  <a:lnTo>
                    <a:pt x="539" y="2528"/>
                  </a:lnTo>
                  <a:lnTo>
                    <a:pt x="447" y="2398"/>
                  </a:lnTo>
                  <a:lnTo>
                    <a:pt x="361" y="2268"/>
                  </a:lnTo>
                  <a:lnTo>
                    <a:pt x="288" y="2141"/>
                  </a:lnTo>
                  <a:lnTo>
                    <a:pt x="220" y="2013"/>
                  </a:lnTo>
                  <a:lnTo>
                    <a:pt x="162" y="1888"/>
                  </a:lnTo>
                  <a:lnTo>
                    <a:pt x="112" y="1764"/>
                  </a:lnTo>
                  <a:lnTo>
                    <a:pt x="72" y="1644"/>
                  </a:lnTo>
                  <a:lnTo>
                    <a:pt x="40" y="1527"/>
                  </a:lnTo>
                  <a:lnTo>
                    <a:pt x="18" y="1413"/>
                  </a:lnTo>
                  <a:lnTo>
                    <a:pt x="4" y="1306"/>
                  </a:lnTo>
                  <a:lnTo>
                    <a:pt x="0" y="1202"/>
                  </a:lnTo>
                  <a:lnTo>
                    <a:pt x="6" y="1080"/>
                  </a:lnTo>
                  <a:lnTo>
                    <a:pt x="24" y="961"/>
                  </a:lnTo>
                  <a:lnTo>
                    <a:pt x="54" y="845"/>
                  </a:lnTo>
                  <a:lnTo>
                    <a:pt x="94" y="736"/>
                  </a:lnTo>
                  <a:lnTo>
                    <a:pt x="146" y="630"/>
                  </a:lnTo>
                  <a:lnTo>
                    <a:pt x="206" y="530"/>
                  </a:lnTo>
                  <a:lnTo>
                    <a:pt x="276" y="439"/>
                  </a:lnTo>
                  <a:lnTo>
                    <a:pt x="353" y="353"/>
                  </a:lnTo>
                  <a:lnTo>
                    <a:pt x="439" y="275"/>
                  </a:lnTo>
                  <a:lnTo>
                    <a:pt x="531" y="205"/>
                  </a:lnTo>
                  <a:lnTo>
                    <a:pt x="631" y="145"/>
                  </a:lnTo>
                  <a:lnTo>
                    <a:pt x="734" y="96"/>
                  </a:lnTo>
                  <a:lnTo>
                    <a:pt x="846" y="54"/>
                  </a:lnTo>
                  <a:lnTo>
                    <a:pt x="960" y="24"/>
                  </a:lnTo>
                  <a:lnTo>
                    <a:pt x="1079" y="6"/>
                  </a:lnTo>
                  <a:lnTo>
                    <a:pt x="12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-6259513" y="2971800"/>
              <a:ext cx="2603500" cy="782638"/>
            </a:xfrm>
            <a:custGeom>
              <a:avLst/>
              <a:gdLst>
                <a:gd name="T0" fmla="*/ 984 w 3279"/>
                <a:gd name="T1" fmla="*/ 0 h 985"/>
                <a:gd name="T2" fmla="*/ 1121 w 3279"/>
                <a:gd name="T3" fmla="*/ 24 h 985"/>
                <a:gd name="T4" fmla="*/ 1265 w 3279"/>
                <a:gd name="T5" fmla="*/ 88 h 985"/>
                <a:gd name="T6" fmla="*/ 1417 w 3279"/>
                <a:gd name="T7" fmla="*/ 179 h 985"/>
                <a:gd name="T8" fmla="*/ 1572 w 3279"/>
                <a:gd name="T9" fmla="*/ 291 h 985"/>
                <a:gd name="T10" fmla="*/ 1710 w 3279"/>
                <a:gd name="T11" fmla="*/ 395 h 985"/>
                <a:gd name="T12" fmla="*/ 1827 w 3279"/>
                <a:gd name="T13" fmla="*/ 480 h 985"/>
                <a:gd name="T14" fmla="*/ 1943 w 3279"/>
                <a:gd name="T15" fmla="*/ 558 h 985"/>
                <a:gd name="T16" fmla="*/ 2051 w 3279"/>
                <a:gd name="T17" fmla="*/ 618 h 985"/>
                <a:gd name="T18" fmla="*/ 2147 w 3279"/>
                <a:gd name="T19" fmla="*/ 652 h 985"/>
                <a:gd name="T20" fmla="*/ 2843 w 3279"/>
                <a:gd name="T21" fmla="*/ 656 h 985"/>
                <a:gd name="T22" fmla="*/ 2982 w 3279"/>
                <a:gd name="T23" fmla="*/ 670 h 985"/>
                <a:gd name="T24" fmla="*/ 3092 w 3279"/>
                <a:gd name="T25" fmla="*/ 701 h 985"/>
                <a:gd name="T26" fmla="*/ 3172 w 3279"/>
                <a:gd name="T27" fmla="*/ 741 h 985"/>
                <a:gd name="T28" fmla="*/ 3224 w 3279"/>
                <a:gd name="T29" fmla="*/ 777 h 985"/>
                <a:gd name="T30" fmla="*/ 3248 w 3279"/>
                <a:gd name="T31" fmla="*/ 797 h 985"/>
                <a:gd name="T32" fmla="*/ 3275 w 3279"/>
                <a:gd name="T33" fmla="*/ 847 h 985"/>
                <a:gd name="T34" fmla="*/ 3275 w 3279"/>
                <a:gd name="T35" fmla="*/ 903 h 985"/>
                <a:gd name="T36" fmla="*/ 3248 w 3279"/>
                <a:gd name="T37" fmla="*/ 953 h 985"/>
                <a:gd name="T38" fmla="*/ 3198 w 3279"/>
                <a:gd name="T39" fmla="*/ 981 h 985"/>
                <a:gd name="T40" fmla="*/ 3142 w 3279"/>
                <a:gd name="T41" fmla="*/ 981 h 985"/>
                <a:gd name="T42" fmla="*/ 3094 w 3279"/>
                <a:gd name="T43" fmla="*/ 953 h 985"/>
                <a:gd name="T44" fmla="*/ 3076 w 3279"/>
                <a:gd name="T45" fmla="*/ 939 h 985"/>
                <a:gd name="T46" fmla="*/ 3030 w 3279"/>
                <a:gd name="T47" fmla="*/ 913 h 985"/>
                <a:gd name="T48" fmla="*/ 2950 w 3279"/>
                <a:gd name="T49" fmla="*/ 887 h 985"/>
                <a:gd name="T50" fmla="*/ 2843 w 3279"/>
                <a:gd name="T51" fmla="*/ 875 h 985"/>
                <a:gd name="T52" fmla="*/ 2119 w 3279"/>
                <a:gd name="T53" fmla="*/ 869 h 985"/>
                <a:gd name="T54" fmla="*/ 1977 w 3279"/>
                <a:gd name="T55" fmla="*/ 825 h 985"/>
                <a:gd name="T56" fmla="*/ 1829 w 3279"/>
                <a:gd name="T57" fmla="*/ 745 h 985"/>
                <a:gd name="T58" fmla="*/ 1678 w 3279"/>
                <a:gd name="T59" fmla="*/ 642 h 985"/>
                <a:gd name="T60" fmla="*/ 1520 w 3279"/>
                <a:gd name="T61" fmla="*/ 526 h 985"/>
                <a:gd name="T62" fmla="*/ 1403 w 3279"/>
                <a:gd name="T63" fmla="*/ 438 h 985"/>
                <a:gd name="T64" fmla="*/ 1285 w 3279"/>
                <a:gd name="T65" fmla="*/ 355 h 985"/>
                <a:gd name="T66" fmla="*/ 1173 w 3279"/>
                <a:gd name="T67" fmla="*/ 285 h 985"/>
                <a:gd name="T68" fmla="*/ 1069 w 3279"/>
                <a:gd name="T69" fmla="*/ 237 h 985"/>
                <a:gd name="T70" fmla="*/ 984 w 3279"/>
                <a:gd name="T71" fmla="*/ 219 h 985"/>
                <a:gd name="T72" fmla="*/ 74 w 3279"/>
                <a:gd name="T73" fmla="*/ 213 h 985"/>
                <a:gd name="T74" fmla="*/ 20 w 3279"/>
                <a:gd name="T75" fmla="*/ 175 h 985"/>
                <a:gd name="T76" fmla="*/ 0 w 3279"/>
                <a:gd name="T77" fmla="*/ 109 h 985"/>
                <a:gd name="T78" fmla="*/ 20 w 3279"/>
                <a:gd name="T79" fmla="*/ 46 h 985"/>
                <a:gd name="T80" fmla="*/ 74 w 3279"/>
                <a:gd name="T81" fmla="*/ 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79" h="985">
                  <a:moveTo>
                    <a:pt x="110" y="0"/>
                  </a:moveTo>
                  <a:lnTo>
                    <a:pt x="984" y="0"/>
                  </a:lnTo>
                  <a:lnTo>
                    <a:pt x="1052" y="6"/>
                  </a:lnTo>
                  <a:lnTo>
                    <a:pt x="1121" y="24"/>
                  </a:lnTo>
                  <a:lnTo>
                    <a:pt x="1193" y="52"/>
                  </a:lnTo>
                  <a:lnTo>
                    <a:pt x="1265" y="88"/>
                  </a:lnTo>
                  <a:lnTo>
                    <a:pt x="1341" y="131"/>
                  </a:lnTo>
                  <a:lnTo>
                    <a:pt x="1417" y="179"/>
                  </a:lnTo>
                  <a:lnTo>
                    <a:pt x="1492" y="233"/>
                  </a:lnTo>
                  <a:lnTo>
                    <a:pt x="1572" y="291"/>
                  </a:lnTo>
                  <a:lnTo>
                    <a:pt x="1650" y="351"/>
                  </a:lnTo>
                  <a:lnTo>
                    <a:pt x="1710" y="395"/>
                  </a:lnTo>
                  <a:lnTo>
                    <a:pt x="1768" y="436"/>
                  </a:lnTo>
                  <a:lnTo>
                    <a:pt x="1827" y="480"/>
                  </a:lnTo>
                  <a:lnTo>
                    <a:pt x="1885" y="520"/>
                  </a:lnTo>
                  <a:lnTo>
                    <a:pt x="1943" y="558"/>
                  </a:lnTo>
                  <a:lnTo>
                    <a:pt x="1997" y="590"/>
                  </a:lnTo>
                  <a:lnTo>
                    <a:pt x="2051" y="618"/>
                  </a:lnTo>
                  <a:lnTo>
                    <a:pt x="2101" y="638"/>
                  </a:lnTo>
                  <a:lnTo>
                    <a:pt x="2147" y="652"/>
                  </a:lnTo>
                  <a:lnTo>
                    <a:pt x="2186" y="656"/>
                  </a:lnTo>
                  <a:lnTo>
                    <a:pt x="2843" y="656"/>
                  </a:lnTo>
                  <a:lnTo>
                    <a:pt x="2916" y="660"/>
                  </a:lnTo>
                  <a:lnTo>
                    <a:pt x="2982" y="670"/>
                  </a:lnTo>
                  <a:lnTo>
                    <a:pt x="3040" y="684"/>
                  </a:lnTo>
                  <a:lnTo>
                    <a:pt x="3092" y="701"/>
                  </a:lnTo>
                  <a:lnTo>
                    <a:pt x="3136" y="721"/>
                  </a:lnTo>
                  <a:lnTo>
                    <a:pt x="3172" y="741"/>
                  </a:lnTo>
                  <a:lnTo>
                    <a:pt x="3202" y="761"/>
                  </a:lnTo>
                  <a:lnTo>
                    <a:pt x="3224" y="777"/>
                  </a:lnTo>
                  <a:lnTo>
                    <a:pt x="3240" y="789"/>
                  </a:lnTo>
                  <a:lnTo>
                    <a:pt x="3248" y="797"/>
                  </a:lnTo>
                  <a:lnTo>
                    <a:pt x="3265" y="821"/>
                  </a:lnTo>
                  <a:lnTo>
                    <a:pt x="3275" y="847"/>
                  </a:lnTo>
                  <a:lnTo>
                    <a:pt x="3279" y="875"/>
                  </a:lnTo>
                  <a:lnTo>
                    <a:pt x="3275" y="903"/>
                  </a:lnTo>
                  <a:lnTo>
                    <a:pt x="3265" y="929"/>
                  </a:lnTo>
                  <a:lnTo>
                    <a:pt x="3248" y="953"/>
                  </a:lnTo>
                  <a:lnTo>
                    <a:pt x="3224" y="971"/>
                  </a:lnTo>
                  <a:lnTo>
                    <a:pt x="3198" y="981"/>
                  </a:lnTo>
                  <a:lnTo>
                    <a:pt x="3170" y="985"/>
                  </a:lnTo>
                  <a:lnTo>
                    <a:pt x="3142" y="981"/>
                  </a:lnTo>
                  <a:lnTo>
                    <a:pt x="3116" y="971"/>
                  </a:lnTo>
                  <a:lnTo>
                    <a:pt x="3094" y="953"/>
                  </a:lnTo>
                  <a:lnTo>
                    <a:pt x="3088" y="949"/>
                  </a:lnTo>
                  <a:lnTo>
                    <a:pt x="3076" y="939"/>
                  </a:lnTo>
                  <a:lnTo>
                    <a:pt x="3056" y="927"/>
                  </a:lnTo>
                  <a:lnTo>
                    <a:pt x="3030" y="913"/>
                  </a:lnTo>
                  <a:lnTo>
                    <a:pt x="2994" y="899"/>
                  </a:lnTo>
                  <a:lnTo>
                    <a:pt x="2950" y="887"/>
                  </a:lnTo>
                  <a:lnTo>
                    <a:pt x="2900" y="879"/>
                  </a:lnTo>
                  <a:lnTo>
                    <a:pt x="2843" y="875"/>
                  </a:lnTo>
                  <a:lnTo>
                    <a:pt x="2186" y="875"/>
                  </a:lnTo>
                  <a:lnTo>
                    <a:pt x="2119" y="869"/>
                  </a:lnTo>
                  <a:lnTo>
                    <a:pt x="2049" y="851"/>
                  </a:lnTo>
                  <a:lnTo>
                    <a:pt x="1977" y="825"/>
                  </a:lnTo>
                  <a:lnTo>
                    <a:pt x="1905" y="787"/>
                  </a:lnTo>
                  <a:lnTo>
                    <a:pt x="1829" y="745"/>
                  </a:lnTo>
                  <a:lnTo>
                    <a:pt x="1754" y="696"/>
                  </a:lnTo>
                  <a:lnTo>
                    <a:pt x="1678" y="642"/>
                  </a:lnTo>
                  <a:lnTo>
                    <a:pt x="1598" y="584"/>
                  </a:lnTo>
                  <a:lnTo>
                    <a:pt x="1520" y="526"/>
                  </a:lnTo>
                  <a:lnTo>
                    <a:pt x="1462" y="482"/>
                  </a:lnTo>
                  <a:lnTo>
                    <a:pt x="1403" y="438"/>
                  </a:lnTo>
                  <a:lnTo>
                    <a:pt x="1343" y="397"/>
                  </a:lnTo>
                  <a:lnTo>
                    <a:pt x="1285" y="355"/>
                  </a:lnTo>
                  <a:lnTo>
                    <a:pt x="1227" y="319"/>
                  </a:lnTo>
                  <a:lnTo>
                    <a:pt x="1173" y="285"/>
                  </a:lnTo>
                  <a:lnTo>
                    <a:pt x="1119" y="259"/>
                  </a:lnTo>
                  <a:lnTo>
                    <a:pt x="1069" y="237"/>
                  </a:lnTo>
                  <a:lnTo>
                    <a:pt x="1026" y="223"/>
                  </a:lnTo>
                  <a:lnTo>
                    <a:pt x="984" y="219"/>
                  </a:lnTo>
                  <a:lnTo>
                    <a:pt x="110" y="219"/>
                  </a:lnTo>
                  <a:lnTo>
                    <a:pt x="74" y="213"/>
                  </a:lnTo>
                  <a:lnTo>
                    <a:pt x="44" y="197"/>
                  </a:lnTo>
                  <a:lnTo>
                    <a:pt x="20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-7126288" y="4359275"/>
              <a:ext cx="258763" cy="261938"/>
            </a:xfrm>
            <a:custGeom>
              <a:avLst/>
              <a:gdLst>
                <a:gd name="T0" fmla="*/ 164 w 328"/>
                <a:gd name="T1" fmla="*/ 0 h 329"/>
                <a:gd name="T2" fmla="*/ 208 w 328"/>
                <a:gd name="T3" fmla="*/ 6 h 329"/>
                <a:gd name="T4" fmla="*/ 246 w 328"/>
                <a:gd name="T5" fmla="*/ 24 h 329"/>
                <a:gd name="T6" fmla="*/ 280 w 328"/>
                <a:gd name="T7" fmla="*/ 50 h 329"/>
                <a:gd name="T8" fmla="*/ 306 w 328"/>
                <a:gd name="T9" fmla="*/ 82 h 329"/>
                <a:gd name="T10" fmla="*/ 322 w 328"/>
                <a:gd name="T11" fmla="*/ 122 h 329"/>
                <a:gd name="T12" fmla="*/ 328 w 328"/>
                <a:gd name="T13" fmla="*/ 165 h 329"/>
                <a:gd name="T14" fmla="*/ 322 w 328"/>
                <a:gd name="T15" fmla="*/ 207 h 329"/>
                <a:gd name="T16" fmla="*/ 306 w 328"/>
                <a:gd name="T17" fmla="*/ 247 h 329"/>
                <a:gd name="T18" fmla="*/ 280 w 328"/>
                <a:gd name="T19" fmla="*/ 281 h 329"/>
                <a:gd name="T20" fmla="*/ 246 w 328"/>
                <a:gd name="T21" fmla="*/ 307 h 329"/>
                <a:gd name="T22" fmla="*/ 208 w 328"/>
                <a:gd name="T23" fmla="*/ 323 h 329"/>
                <a:gd name="T24" fmla="*/ 164 w 328"/>
                <a:gd name="T25" fmla="*/ 329 h 329"/>
                <a:gd name="T26" fmla="*/ 120 w 328"/>
                <a:gd name="T27" fmla="*/ 323 h 329"/>
                <a:gd name="T28" fmla="*/ 80 w 328"/>
                <a:gd name="T29" fmla="*/ 307 h 329"/>
                <a:gd name="T30" fmla="*/ 48 w 328"/>
                <a:gd name="T31" fmla="*/ 281 h 329"/>
                <a:gd name="T32" fmla="*/ 22 w 328"/>
                <a:gd name="T33" fmla="*/ 247 h 329"/>
                <a:gd name="T34" fmla="*/ 6 w 328"/>
                <a:gd name="T35" fmla="*/ 207 h 329"/>
                <a:gd name="T36" fmla="*/ 0 w 328"/>
                <a:gd name="T37" fmla="*/ 165 h 329"/>
                <a:gd name="T38" fmla="*/ 6 w 328"/>
                <a:gd name="T39" fmla="*/ 122 h 329"/>
                <a:gd name="T40" fmla="*/ 22 w 328"/>
                <a:gd name="T41" fmla="*/ 82 h 329"/>
                <a:gd name="T42" fmla="*/ 48 w 328"/>
                <a:gd name="T43" fmla="*/ 50 h 329"/>
                <a:gd name="T44" fmla="*/ 80 w 328"/>
                <a:gd name="T45" fmla="*/ 24 h 329"/>
                <a:gd name="T46" fmla="*/ 120 w 328"/>
                <a:gd name="T47" fmla="*/ 6 h 329"/>
                <a:gd name="T48" fmla="*/ 164 w 328"/>
                <a:gd name="T49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8" h="329">
                  <a:moveTo>
                    <a:pt x="164" y="0"/>
                  </a:moveTo>
                  <a:lnTo>
                    <a:pt x="208" y="6"/>
                  </a:lnTo>
                  <a:lnTo>
                    <a:pt x="246" y="24"/>
                  </a:lnTo>
                  <a:lnTo>
                    <a:pt x="280" y="50"/>
                  </a:lnTo>
                  <a:lnTo>
                    <a:pt x="306" y="82"/>
                  </a:lnTo>
                  <a:lnTo>
                    <a:pt x="322" y="122"/>
                  </a:lnTo>
                  <a:lnTo>
                    <a:pt x="328" y="165"/>
                  </a:lnTo>
                  <a:lnTo>
                    <a:pt x="322" y="207"/>
                  </a:lnTo>
                  <a:lnTo>
                    <a:pt x="306" y="247"/>
                  </a:lnTo>
                  <a:lnTo>
                    <a:pt x="280" y="281"/>
                  </a:lnTo>
                  <a:lnTo>
                    <a:pt x="246" y="307"/>
                  </a:lnTo>
                  <a:lnTo>
                    <a:pt x="208" y="323"/>
                  </a:lnTo>
                  <a:lnTo>
                    <a:pt x="164" y="329"/>
                  </a:lnTo>
                  <a:lnTo>
                    <a:pt x="120" y="323"/>
                  </a:lnTo>
                  <a:lnTo>
                    <a:pt x="80" y="307"/>
                  </a:lnTo>
                  <a:lnTo>
                    <a:pt x="48" y="281"/>
                  </a:lnTo>
                  <a:lnTo>
                    <a:pt x="22" y="247"/>
                  </a:lnTo>
                  <a:lnTo>
                    <a:pt x="6" y="207"/>
                  </a:lnTo>
                  <a:lnTo>
                    <a:pt x="0" y="165"/>
                  </a:lnTo>
                  <a:lnTo>
                    <a:pt x="6" y="122"/>
                  </a:lnTo>
                  <a:lnTo>
                    <a:pt x="22" y="82"/>
                  </a:lnTo>
                  <a:lnTo>
                    <a:pt x="48" y="50"/>
                  </a:lnTo>
                  <a:lnTo>
                    <a:pt x="80" y="24"/>
                  </a:lnTo>
                  <a:lnTo>
                    <a:pt x="120" y="6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-6259513" y="3321050"/>
              <a:ext cx="4165600" cy="1558925"/>
            </a:xfrm>
            <a:custGeom>
              <a:avLst/>
              <a:gdLst>
                <a:gd name="T0" fmla="*/ 4989 w 5248"/>
                <a:gd name="T1" fmla="*/ 38 h 1966"/>
                <a:gd name="T2" fmla="*/ 5188 w 5248"/>
                <a:gd name="T3" fmla="*/ 218 h 1966"/>
                <a:gd name="T4" fmla="*/ 5246 w 5248"/>
                <a:gd name="T5" fmla="*/ 483 h 1966"/>
                <a:gd name="T6" fmla="*/ 5136 w 5248"/>
                <a:gd name="T7" fmla="*/ 730 h 1966"/>
                <a:gd name="T8" fmla="*/ 3551 w 5248"/>
                <a:gd name="T9" fmla="*/ 1735 h 1966"/>
                <a:gd name="T10" fmla="*/ 3443 w 5248"/>
                <a:gd name="T11" fmla="*/ 1788 h 1966"/>
                <a:gd name="T12" fmla="*/ 3198 w 5248"/>
                <a:gd name="T13" fmla="*/ 1874 h 1966"/>
                <a:gd name="T14" fmla="*/ 2803 w 5248"/>
                <a:gd name="T15" fmla="*/ 1946 h 1966"/>
                <a:gd name="T16" fmla="*/ 2318 w 5248"/>
                <a:gd name="T17" fmla="*/ 1964 h 1966"/>
                <a:gd name="T18" fmla="*/ 1955 w 5248"/>
                <a:gd name="T19" fmla="*/ 1906 h 1966"/>
                <a:gd name="T20" fmla="*/ 1582 w 5248"/>
                <a:gd name="T21" fmla="*/ 1794 h 1966"/>
                <a:gd name="T22" fmla="*/ 1239 w 5248"/>
                <a:gd name="T23" fmla="*/ 1661 h 1966"/>
                <a:gd name="T24" fmla="*/ 956 w 5248"/>
                <a:gd name="T25" fmla="*/ 1531 h 1966"/>
                <a:gd name="T26" fmla="*/ 768 w 5248"/>
                <a:gd name="T27" fmla="*/ 1438 h 1966"/>
                <a:gd name="T28" fmla="*/ 706 w 5248"/>
                <a:gd name="T29" fmla="*/ 1404 h 1966"/>
                <a:gd name="T30" fmla="*/ 587 w 5248"/>
                <a:gd name="T31" fmla="*/ 1366 h 1966"/>
                <a:gd name="T32" fmla="*/ 308 w 5248"/>
                <a:gd name="T33" fmla="*/ 1320 h 1966"/>
                <a:gd name="T34" fmla="*/ 44 w 5248"/>
                <a:gd name="T35" fmla="*/ 1290 h 1966"/>
                <a:gd name="T36" fmla="*/ 6 w 5248"/>
                <a:gd name="T37" fmla="*/ 1166 h 1966"/>
                <a:gd name="T38" fmla="*/ 110 w 5248"/>
                <a:gd name="T39" fmla="*/ 1093 h 1966"/>
                <a:gd name="T40" fmla="*/ 493 w 5248"/>
                <a:gd name="T41" fmla="*/ 1123 h 1966"/>
                <a:gd name="T42" fmla="*/ 728 w 5248"/>
                <a:gd name="T43" fmla="*/ 1180 h 1966"/>
                <a:gd name="T44" fmla="*/ 814 w 5248"/>
                <a:gd name="T45" fmla="*/ 1212 h 1966"/>
                <a:gd name="T46" fmla="*/ 894 w 5248"/>
                <a:gd name="T47" fmla="*/ 1256 h 1966"/>
                <a:gd name="T48" fmla="*/ 1095 w 5248"/>
                <a:gd name="T49" fmla="*/ 1356 h 1966"/>
                <a:gd name="T50" fmla="*/ 1383 w 5248"/>
                <a:gd name="T51" fmla="*/ 1483 h 1966"/>
                <a:gd name="T52" fmla="*/ 1720 w 5248"/>
                <a:gd name="T53" fmla="*/ 1611 h 1966"/>
                <a:gd name="T54" fmla="*/ 2073 w 5248"/>
                <a:gd name="T55" fmla="*/ 1709 h 1966"/>
                <a:gd name="T56" fmla="*/ 2406 w 5248"/>
                <a:gd name="T57" fmla="*/ 1749 h 1966"/>
                <a:gd name="T58" fmla="*/ 2892 w 5248"/>
                <a:gd name="T59" fmla="*/ 1713 h 1966"/>
                <a:gd name="T60" fmla="*/ 3222 w 5248"/>
                <a:gd name="T61" fmla="*/ 1639 h 1966"/>
                <a:gd name="T62" fmla="*/ 3399 w 5248"/>
                <a:gd name="T63" fmla="*/ 1569 h 1966"/>
                <a:gd name="T64" fmla="*/ 4917 w 5248"/>
                <a:gd name="T65" fmla="*/ 628 h 1966"/>
                <a:gd name="T66" fmla="*/ 5021 w 5248"/>
                <a:gd name="T67" fmla="*/ 493 h 1966"/>
                <a:gd name="T68" fmla="*/ 4999 w 5248"/>
                <a:gd name="T69" fmla="*/ 327 h 1966"/>
                <a:gd name="T70" fmla="*/ 4867 w 5248"/>
                <a:gd name="T71" fmla="*/ 226 h 1966"/>
                <a:gd name="T72" fmla="*/ 4702 w 5248"/>
                <a:gd name="T73" fmla="*/ 248 h 1966"/>
                <a:gd name="T74" fmla="*/ 3218 w 5248"/>
                <a:gd name="T75" fmla="*/ 941 h 1966"/>
                <a:gd name="T76" fmla="*/ 2869 w 5248"/>
                <a:gd name="T77" fmla="*/ 979 h 1966"/>
                <a:gd name="T78" fmla="*/ 2434 w 5248"/>
                <a:gd name="T79" fmla="*/ 981 h 1966"/>
                <a:gd name="T80" fmla="*/ 2093 w 5248"/>
                <a:gd name="T81" fmla="*/ 961 h 1966"/>
                <a:gd name="T82" fmla="*/ 1766 w 5248"/>
                <a:gd name="T83" fmla="*/ 925 h 1966"/>
                <a:gd name="T84" fmla="*/ 1514 w 5248"/>
                <a:gd name="T85" fmla="*/ 889 h 1966"/>
                <a:gd name="T86" fmla="*/ 1403 w 5248"/>
                <a:gd name="T87" fmla="*/ 871 h 1966"/>
                <a:gd name="T88" fmla="*/ 1313 w 5248"/>
                <a:gd name="T89" fmla="*/ 782 h 1966"/>
                <a:gd name="T90" fmla="*/ 1373 w 5248"/>
                <a:gd name="T91" fmla="*/ 666 h 1966"/>
                <a:gd name="T92" fmla="*/ 1466 w 5248"/>
                <a:gd name="T93" fmla="*/ 662 h 1966"/>
                <a:gd name="T94" fmla="*/ 1648 w 5248"/>
                <a:gd name="T95" fmla="*/ 688 h 1966"/>
                <a:gd name="T96" fmla="*/ 1939 w 5248"/>
                <a:gd name="T97" fmla="*/ 726 h 1966"/>
                <a:gd name="T98" fmla="*/ 2274 w 5248"/>
                <a:gd name="T99" fmla="*/ 756 h 1966"/>
                <a:gd name="T100" fmla="*/ 2637 w 5248"/>
                <a:gd name="T101" fmla="*/ 764 h 1966"/>
                <a:gd name="T102" fmla="*/ 3016 w 5248"/>
                <a:gd name="T103" fmla="*/ 752 h 1966"/>
                <a:gd name="T104" fmla="*/ 3281 w 5248"/>
                <a:gd name="T105" fmla="*/ 694 h 1966"/>
                <a:gd name="T106" fmla="*/ 4721 w 5248"/>
                <a:gd name="T107" fmla="*/ 8 h 1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48" h="1966">
                  <a:moveTo>
                    <a:pt x="4787" y="0"/>
                  </a:moveTo>
                  <a:lnTo>
                    <a:pt x="4855" y="2"/>
                  </a:lnTo>
                  <a:lnTo>
                    <a:pt x="4923" y="14"/>
                  </a:lnTo>
                  <a:lnTo>
                    <a:pt x="4989" y="38"/>
                  </a:lnTo>
                  <a:lnTo>
                    <a:pt x="5049" y="70"/>
                  </a:lnTo>
                  <a:lnTo>
                    <a:pt x="5102" y="112"/>
                  </a:lnTo>
                  <a:lnTo>
                    <a:pt x="5150" y="162"/>
                  </a:lnTo>
                  <a:lnTo>
                    <a:pt x="5188" y="218"/>
                  </a:lnTo>
                  <a:lnTo>
                    <a:pt x="5218" y="281"/>
                  </a:lnTo>
                  <a:lnTo>
                    <a:pt x="5238" y="345"/>
                  </a:lnTo>
                  <a:lnTo>
                    <a:pt x="5248" y="413"/>
                  </a:lnTo>
                  <a:lnTo>
                    <a:pt x="5246" y="483"/>
                  </a:lnTo>
                  <a:lnTo>
                    <a:pt x="5232" y="551"/>
                  </a:lnTo>
                  <a:lnTo>
                    <a:pt x="5210" y="614"/>
                  </a:lnTo>
                  <a:lnTo>
                    <a:pt x="5176" y="676"/>
                  </a:lnTo>
                  <a:lnTo>
                    <a:pt x="5136" y="730"/>
                  </a:lnTo>
                  <a:lnTo>
                    <a:pt x="5086" y="776"/>
                  </a:lnTo>
                  <a:lnTo>
                    <a:pt x="5029" y="816"/>
                  </a:lnTo>
                  <a:lnTo>
                    <a:pt x="3557" y="1731"/>
                  </a:lnTo>
                  <a:lnTo>
                    <a:pt x="3551" y="1735"/>
                  </a:lnTo>
                  <a:lnTo>
                    <a:pt x="3535" y="1745"/>
                  </a:lnTo>
                  <a:lnTo>
                    <a:pt x="3513" y="1756"/>
                  </a:lnTo>
                  <a:lnTo>
                    <a:pt x="3483" y="1770"/>
                  </a:lnTo>
                  <a:lnTo>
                    <a:pt x="3443" y="1788"/>
                  </a:lnTo>
                  <a:lnTo>
                    <a:pt x="3395" y="1808"/>
                  </a:lnTo>
                  <a:lnTo>
                    <a:pt x="3337" y="1830"/>
                  </a:lnTo>
                  <a:lnTo>
                    <a:pt x="3271" y="1852"/>
                  </a:lnTo>
                  <a:lnTo>
                    <a:pt x="3198" y="1874"/>
                  </a:lnTo>
                  <a:lnTo>
                    <a:pt x="3114" y="1894"/>
                  </a:lnTo>
                  <a:lnTo>
                    <a:pt x="3020" y="1914"/>
                  </a:lnTo>
                  <a:lnTo>
                    <a:pt x="2916" y="1930"/>
                  </a:lnTo>
                  <a:lnTo>
                    <a:pt x="2803" y="1946"/>
                  </a:lnTo>
                  <a:lnTo>
                    <a:pt x="2681" y="1956"/>
                  </a:lnTo>
                  <a:lnTo>
                    <a:pt x="2547" y="1964"/>
                  </a:lnTo>
                  <a:lnTo>
                    <a:pt x="2406" y="1966"/>
                  </a:lnTo>
                  <a:lnTo>
                    <a:pt x="2318" y="1964"/>
                  </a:lnTo>
                  <a:lnTo>
                    <a:pt x="2230" y="1956"/>
                  </a:lnTo>
                  <a:lnTo>
                    <a:pt x="2141" y="1944"/>
                  </a:lnTo>
                  <a:lnTo>
                    <a:pt x="2047" y="1926"/>
                  </a:lnTo>
                  <a:lnTo>
                    <a:pt x="1955" y="1906"/>
                  </a:lnTo>
                  <a:lnTo>
                    <a:pt x="1861" y="1882"/>
                  </a:lnTo>
                  <a:lnTo>
                    <a:pt x="1768" y="1856"/>
                  </a:lnTo>
                  <a:lnTo>
                    <a:pt x="1674" y="1826"/>
                  </a:lnTo>
                  <a:lnTo>
                    <a:pt x="1582" y="1794"/>
                  </a:lnTo>
                  <a:lnTo>
                    <a:pt x="1492" y="1762"/>
                  </a:lnTo>
                  <a:lnTo>
                    <a:pt x="1405" y="1729"/>
                  </a:lnTo>
                  <a:lnTo>
                    <a:pt x="1321" y="1695"/>
                  </a:lnTo>
                  <a:lnTo>
                    <a:pt x="1239" y="1661"/>
                  </a:lnTo>
                  <a:lnTo>
                    <a:pt x="1161" y="1627"/>
                  </a:lnTo>
                  <a:lnTo>
                    <a:pt x="1087" y="1593"/>
                  </a:lnTo>
                  <a:lnTo>
                    <a:pt x="1020" y="1561"/>
                  </a:lnTo>
                  <a:lnTo>
                    <a:pt x="956" y="1531"/>
                  </a:lnTo>
                  <a:lnTo>
                    <a:pt x="898" y="1503"/>
                  </a:lnTo>
                  <a:lnTo>
                    <a:pt x="848" y="1477"/>
                  </a:lnTo>
                  <a:lnTo>
                    <a:pt x="804" y="1455"/>
                  </a:lnTo>
                  <a:lnTo>
                    <a:pt x="768" y="1438"/>
                  </a:lnTo>
                  <a:lnTo>
                    <a:pt x="740" y="1422"/>
                  </a:lnTo>
                  <a:lnTo>
                    <a:pt x="722" y="1412"/>
                  </a:lnTo>
                  <a:lnTo>
                    <a:pt x="712" y="1406"/>
                  </a:lnTo>
                  <a:lnTo>
                    <a:pt x="706" y="1404"/>
                  </a:lnTo>
                  <a:lnTo>
                    <a:pt x="693" y="1398"/>
                  </a:lnTo>
                  <a:lnTo>
                    <a:pt x="667" y="1390"/>
                  </a:lnTo>
                  <a:lnTo>
                    <a:pt x="631" y="1378"/>
                  </a:lnTo>
                  <a:lnTo>
                    <a:pt x="587" y="1366"/>
                  </a:lnTo>
                  <a:lnTo>
                    <a:pt x="531" y="1352"/>
                  </a:lnTo>
                  <a:lnTo>
                    <a:pt x="465" y="1340"/>
                  </a:lnTo>
                  <a:lnTo>
                    <a:pt x="391" y="1328"/>
                  </a:lnTo>
                  <a:lnTo>
                    <a:pt x="308" y="1320"/>
                  </a:lnTo>
                  <a:lnTo>
                    <a:pt x="214" y="1314"/>
                  </a:lnTo>
                  <a:lnTo>
                    <a:pt x="110" y="1310"/>
                  </a:lnTo>
                  <a:lnTo>
                    <a:pt x="74" y="1306"/>
                  </a:lnTo>
                  <a:lnTo>
                    <a:pt x="44" y="1290"/>
                  </a:lnTo>
                  <a:lnTo>
                    <a:pt x="20" y="1266"/>
                  </a:lnTo>
                  <a:lnTo>
                    <a:pt x="6" y="1236"/>
                  </a:lnTo>
                  <a:lnTo>
                    <a:pt x="0" y="1202"/>
                  </a:lnTo>
                  <a:lnTo>
                    <a:pt x="6" y="1166"/>
                  </a:lnTo>
                  <a:lnTo>
                    <a:pt x="20" y="1137"/>
                  </a:lnTo>
                  <a:lnTo>
                    <a:pt x="44" y="1113"/>
                  </a:lnTo>
                  <a:lnTo>
                    <a:pt x="74" y="1099"/>
                  </a:lnTo>
                  <a:lnTo>
                    <a:pt x="110" y="1093"/>
                  </a:lnTo>
                  <a:lnTo>
                    <a:pt x="220" y="1095"/>
                  </a:lnTo>
                  <a:lnTo>
                    <a:pt x="320" y="1101"/>
                  </a:lnTo>
                  <a:lnTo>
                    <a:pt x="411" y="1111"/>
                  </a:lnTo>
                  <a:lnTo>
                    <a:pt x="493" y="1123"/>
                  </a:lnTo>
                  <a:lnTo>
                    <a:pt x="567" y="1137"/>
                  </a:lnTo>
                  <a:lnTo>
                    <a:pt x="629" y="1151"/>
                  </a:lnTo>
                  <a:lnTo>
                    <a:pt x="685" y="1166"/>
                  </a:lnTo>
                  <a:lnTo>
                    <a:pt x="728" y="1180"/>
                  </a:lnTo>
                  <a:lnTo>
                    <a:pt x="764" y="1192"/>
                  </a:lnTo>
                  <a:lnTo>
                    <a:pt x="790" y="1202"/>
                  </a:lnTo>
                  <a:lnTo>
                    <a:pt x="806" y="1210"/>
                  </a:lnTo>
                  <a:lnTo>
                    <a:pt x="814" y="1212"/>
                  </a:lnTo>
                  <a:lnTo>
                    <a:pt x="820" y="1216"/>
                  </a:lnTo>
                  <a:lnTo>
                    <a:pt x="836" y="1224"/>
                  </a:lnTo>
                  <a:lnTo>
                    <a:pt x="860" y="1238"/>
                  </a:lnTo>
                  <a:lnTo>
                    <a:pt x="894" y="1256"/>
                  </a:lnTo>
                  <a:lnTo>
                    <a:pt x="934" y="1276"/>
                  </a:lnTo>
                  <a:lnTo>
                    <a:pt x="982" y="1300"/>
                  </a:lnTo>
                  <a:lnTo>
                    <a:pt x="1036" y="1326"/>
                  </a:lnTo>
                  <a:lnTo>
                    <a:pt x="1095" y="1356"/>
                  </a:lnTo>
                  <a:lnTo>
                    <a:pt x="1159" y="1386"/>
                  </a:lnTo>
                  <a:lnTo>
                    <a:pt x="1231" y="1418"/>
                  </a:lnTo>
                  <a:lnTo>
                    <a:pt x="1305" y="1450"/>
                  </a:lnTo>
                  <a:lnTo>
                    <a:pt x="1383" y="1483"/>
                  </a:lnTo>
                  <a:lnTo>
                    <a:pt x="1464" y="1517"/>
                  </a:lnTo>
                  <a:lnTo>
                    <a:pt x="1548" y="1549"/>
                  </a:lnTo>
                  <a:lnTo>
                    <a:pt x="1634" y="1581"/>
                  </a:lnTo>
                  <a:lnTo>
                    <a:pt x="1720" y="1611"/>
                  </a:lnTo>
                  <a:lnTo>
                    <a:pt x="1807" y="1639"/>
                  </a:lnTo>
                  <a:lnTo>
                    <a:pt x="1897" y="1665"/>
                  </a:lnTo>
                  <a:lnTo>
                    <a:pt x="1985" y="1689"/>
                  </a:lnTo>
                  <a:lnTo>
                    <a:pt x="2073" y="1709"/>
                  </a:lnTo>
                  <a:lnTo>
                    <a:pt x="2158" y="1725"/>
                  </a:lnTo>
                  <a:lnTo>
                    <a:pt x="2244" y="1737"/>
                  </a:lnTo>
                  <a:lnTo>
                    <a:pt x="2326" y="1745"/>
                  </a:lnTo>
                  <a:lnTo>
                    <a:pt x="2406" y="1749"/>
                  </a:lnTo>
                  <a:lnTo>
                    <a:pt x="2543" y="1745"/>
                  </a:lnTo>
                  <a:lnTo>
                    <a:pt x="2669" y="1739"/>
                  </a:lnTo>
                  <a:lnTo>
                    <a:pt x="2787" y="1727"/>
                  </a:lnTo>
                  <a:lnTo>
                    <a:pt x="2892" y="1713"/>
                  </a:lnTo>
                  <a:lnTo>
                    <a:pt x="2990" y="1697"/>
                  </a:lnTo>
                  <a:lnTo>
                    <a:pt x="3076" y="1679"/>
                  </a:lnTo>
                  <a:lnTo>
                    <a:pt x="3154" y="1659"/>
                  </a:lnTo>
                  <a:lnTo>
                    <a:pt x="3222" y="1639"/>
                  </a:lnTo>
                  <a:lnTo>
                    <a:pt x="3279" y="1619"/>
                  </a:lnTo>
                  <a:lnTo>
                    <a:pt x="3327" y="1601"/>
                  </a:lnTo>
                  <a:lnTo>
                    <a:pt x="3367" y="1583"/>
                  </a:lnTo>
                  <a:lnTo>
                    <a:pt x="3399" y="1569"/>
                  </a:lnTo>
                  <a:lnTo>
                    <a:pt x="3421" y="1557"/>
                  </a:lnTo>
                  <a:lnTo>
                    <a:pt x="3433" y="1551"/>
                  </a:lnTo>
                  <a:lnTo>
                    <a:pt x="3439" y="1547"/>
                  </a:lnTo>
                  <a:lnTo>
                    <a:pt x="4917" y="628"/>
                  </a:lnTo>
                  <a:lnTo>
                    <a:pt x="4953" y="602"/>
                  </a:lnTo>
                  <a:lnTo>
                    <a:pt x="4983" y="570"/>
                  </a:lnTo>
                  <a:lnTo>
                    <a:pt x="5007" y="535"/>
                  </a:lnTo>
                  <a:lnTo>
                    <a:pt x="5021" y="493"/>
                  </a:lnTo>
                  <a:lnTo>
                    <a:pt x="5029" y="451"/>
                  </a:lnTo>
                  <a:lnTo>
                    <a:pt x="5027" y="409"/>
                  </a:lnTo>
                  <a:lnTo>
                    <a:pt x="5017" y="367"/>
                  </a:lnTo>
                  <a:lnTo>
                    <a:pt x="4999" y="327"/>
                  </a:lnTo>
                  <a:lnTo>
                    <a:pt x="4973" y="291"/>
                  </a:lnTo>
                  <a:lnTo>
                    <a:pt x="4943" y="261"/>
                  </a:lnTo>
                  <a:lnTo>
                    <a:pt x="4907" y="240"/>
                  </a:lnTo>
                  <a:lnTo>
                    <a:pt x="4867" y="226"/>
                  </a:lnTo>
                  <a:lnTo>
                    <a:pt x="4825" y="220"/>
                  </a:lnTo>
                  <a:lnTo>
                    <a:pt x="4783" y="220"/>
                  </a:lnTo>
                  <a:lnTo>
                    <a:pt x="4741" y="230"/>
                  </a:lnTo>
                  <a:lnTo>
                    <a:pt x="4702" y="248"/>
                  </a:lnTo>
                  <a:lnTo>
                    <a:pt x="3437" y="863"/>
                  </a:lnTo>
                  <a:lnTo>
                    <a:pt x="3365" y="895"/>
                  </a:lnTo>
                  <a:lnTo>
                    <a:pt x="3291" y="921"/>
                  </a:lnTo>
                  <a:lnTo>
                    <a:pt x="3218" y="941"/>
                  </a:lnTo>
                  <a:lnTo>
                    <a:pt x="3140" y="957"/>
                  </a:lnTo>
                  <a:lnTo>
                    <a:pt x="3056" y="967"/>
                  </a:lnTo>
                  <a:lnTo>
                    <a:pt x="2966" y="975"/>
                  </a:lnTo>
                  <a:lnTo>
                    <a:pt x="2869" y="979"/>
                  </a:lnTo>
                  <a:lnTo>
                    <a:pt x="2761" y="983"/>
                  </a:lnTo>
                  <a:lnTo>
                    <a:pt x="2643" y="983"/>
                  </a:lnTo>
                  <a:lnTo>
                    <a:pt x="2514" y="983"/>
                  </a:lnTo>
                  <a:lnTo>
                    <a:pt x="2434" y="981"/>
                  </a:lnTo>
                  <a:lnTo>
                    <a:pt x="2352" y="979"/>
                  </a:lnTo>
                  <a:lnTo>
                    <a:pt x="2266" y="975"/>
                  </a:lnTo>
                  <a:lnTo>
                    <a:pt x="2180" y="969"/>
                  </a:lnTo>
                  <a:lnTo>
                    <a:pt x="2093" y="961"/>
                  </a:lnTo>
                  <a:lnTo>
                    <a:pt x="2007" y="953"/>
                  </a:lnTo>
                  <a:lnTo>
                    <a:pt x="1923" y="943"/>
                  </a:lnTo>
                  <a:lnTo>
                    <a:pt x="1843" y="933"/>
                  </a:lnTo>
                  <a:lnTo>
                    <a:pt x="1766" y="925"/>
                  </a:lnTo>
                  <a:lnTo>
                    <a:pt x="1694" y="915"/>
                  </a:lnTo>
                  <a:lnTo>
                    <a:pt x="1626" y="905"/>
                  </a:lnTo>
                  <a:lnTo>
                    <a:pt x="1566" y="897"/>
                  </a:lnTo>
                  <a:lnTo>
                    <a:pt x="1514" y="889"/>
                  </a:lnTo>
                  <a:lnTo>
                    <a:pt x="1470" y="883"/>
                  </a:lnTo>
                  <a:lnTo>
                    <a:pt x="1436" y="877"/>
                  </a:lnTo>
                  <a:lnTo>
                    <a:pt x="1415" y="873"/>
                  </a:lnTo>
                  <a:lnTo>
                    <a:pt x="1403" y="871"/>
                  </a:lnTo>
                  <a:lnTo>
                    <a:pt x="1371" y="861"/>
                  </a:lnTo>
                  <a:lnTo>
                    <a:pt x="1343" y="842"/>
                  </a:lnTo>
                  <a:lnTo>
                    <a:pt x="1323" y="814"/>
                  </a:lnTo>
                  <a:lnTo>
                    <a:pt x="1313" y="782"/>
                  </a:lnTo>
                  <a:lnTo>
                    <a:pt x="1313" y="746"/>
                  </a:lnTo>
                  <a:lnTo>
                    <a:pt x="1325" y="714"/>
                  </a:lnTo>
                  <a:lnTo>
                    <a:pt x="1345" y="686"/>
                  </a:lnTo>
                  <a:lnTo>
                    <a:pt x="1373" y="666"/>
                  </a:lnTo>
                  <a:lnTo>
                    <a:pt x="1405" y="656"/>
                  </a:lnTo>
                  <a:lnTo>
                    <a:pt x="1438" y="656"/>
                  </a:lnTo>
                  <a:lnTo>
                    <a:pt x="1446" y="658"/>
                  </a:lnTo>
                  <a:lnTo>
                    <a:pt x="1466" y="662"/>
                  </a:lnTo>
                  <a:lnTo>
                    <a:pt x="1498" y="666"/>
                  </a:lnTo>
                  <a:lnTo>
                    <a:pt x="1538" y="672"/>
                  </a:lnTo>
                  <a:lnTo>
                    <a:pt x="1588" y="680"/>
                  </a:lnTo>
                  <a:lnTo>
                    <a:pt x="1648" y="688"/>
                  </a:lnTo>
                  <a:lnTo>
                    <a:pt x="1712" y="696"/>
                  </a:lnTo>
                  <a:lnTo>
                    <a:pt x="1784" y="706"/>
                  </a:lnTo>
                  <a:lnTo>
                    <a:pt x="1859" y="716"/>
                  </a:lnTo>
                  <a:lnTo>
                    <a:pt x="1939" y="726"/>
                  </a:lnTo>
                  <a:lnTo>
                    <a:pt x="2021" y="734"/>
                  </a:lnTo>
                  <a:lnTo>
                    <a:pt x="2105" y="742"/>
                  </a:lnTo>
                  <a:lnTo>
                    <a:pt x="2190" y="750"/>
                  </a:lnTo>
                  <a:lnTo>
                    <a:pt x="2274" y="756"/>
                  </a:lnTo>
                  <a:lnTo>
                    <a:pt x="2358" y="760"/>
                  </a:lnTo>
                  <a:lnTo>
                    <a:pt x="2438" y="764"/>
                  </a:lnTo>
                  <a:lnTo>
                    <a:pt x="2514" y="764"/>
                  </a:lnTo>
                  <a:lnTo>
                    <a:pt x="2637" y="764"/>
                  </a:lnTo>
                  <a:lnTo>
                    <a:pt x="2747" y="764"/>
                  </a:lnTo>
                  <a:lnTo>
                    <a:pt x="2847" y="762"/>
                  </a:lnTo>
                  <a:lnTo>
                    <a:pt x="2936" y="758"/>
                  </a:lnTo>
                  <a:lnTo>
                    <a:pt x="3016" y="752"/>
                  </a:lnTo>
                  <a:lnTo>
                    <a:pt x="3090" y="744"/>
                  </a:lnTo>
                  <a:lnTo>
                    <a:pt x="3158" y="732"/>
                  </a:lnTo>
                  <a:lnTo>
                    <a:pt x="3222" y="714"/>
                  </a:lnTo>
                  <a:lnTo>
                    <a:pt x="3281" y="694"/>
                  </a:lnTo>
                  <a:lnTo>
                    <a:pt x="3339" y="666"/>
                  </a:lnTo>
                  <a:lnTo>
                    <a:pt x="4598" y="54"/>
                  </a:lnTo>
                  <a:lnTo>
                    <a:pt x="4658" y="26"/>
                  </a:lnTo>
                  <a:lnTo>
                    <a:pt x="4721" y="8"/>
                  </a:lnTo>
                  <a:lnTo>
                    <a:pt x="47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16"/>
            <p:cNvSpPr>
              <a:spLocks/>
            </p:cNvSpPr>
            <p:nvPr/>
          </p:nvSpPr>
          <p:spPr bwMode="auto">
            <a:xfrm>
              <a:off x="-7300913" y="2625725"/>
              <a:ext cx="868363" cy="2428875"/>
            </a:xfrm>
            <a:custGeom>
              <a:avLst/>
              <a:gdLst>
                <a:gd name="T0" fmla="*/ 110 w 1093"/>
                <a:gd name="T1" fmla="*/ 0 h 3060"/>
                <a:gd name="T2" fmla="*/ 766 w 1093"/>
                <a:gd name="T3" fmla="*/ 0 h 3060"/>
                <a:gd name="T4" fmla="*/ 824 w 1093"/>
                <a:gd name="T5" fmla="*/ 6 h 3060"/>
                <a:gd name="T6" fmla="*/ 880 w 1093"/>
                <a:gd name="T7" fmla="*/ 20 h 3060"/>
                <a:gd name="T8" fmla="*/ 931 w 1093"/>
                <a:gd name="T9" fmla="*/ 46 h 3060"/>
                <a:gd name="T10" fmla="*/ 977 w 1093"/>
                <a:gd name="T11" fmla="*/ 78 h 3060"/>
                <a:gd name="T12" fmla="*/ 1015 w 1093"/>
                <a:gd name="T13" fmla="*/ 118 h 3060"/>
                <a:gd name="T14" fmla="*/ 1049 w 1093"/>
                <a:gd name="T15" fmla="*/ 164 h 3060"/>
                <a:gd name="T16" fmla="*/ 1073 w 1093"/>
                <a:gd name="T17" fmla="*/ 214 h 3060"/>
                <a:gd name="T18" fmla="*/ 1087 w 1093"/>
                <a:gd name="T19" fmla="*/ 269 h 3060"/>
                <a:gd name="T20" fmla="*/ 1093 w 1093"/>
                <a:gd name="T21" fmla="*/ 329 h 3060"/>
                <a:gd name="T22" fmla="*/ 1093 w 1093"/>
                <a:gd name="T23" fmla="*/ 2731 h 3060"/>
                <a:gd name="T24" fmla="*/ 1087 w 1093"/>
                <a:gd name="T25" fmla="*/ 2791 h 3060"/>
                <a:gd name="T26" fmla="*/ 1073 w 1093"/>
                <a:gd name="T27" fmla="*/ 2847 h 3060"/>
                <a:gd name="T28" fmla="*/ 1049 w 1093"/>
                <a:gd name="T29" fmla="*/ 2897 h 3060"/>
                <a:gd name="T30" fmla="*/ 1015 w 1093"/>
                <a:gd name="T31" fmla="*/ 2942 h 3060"/>
                <a:gd name="T32" fmla="*/ 977 w 1093"/>
                <a:gd name="T33" fmla="*/ 2982 h 3060"/>
                <a:gd name="T34" fmla="*/ 931 w 1093"/>
                <a:gd name="T35" fmla="*/ 3014 h 3060"/>
                <a:gd name="T36" fmla="*/ 880 w 1093"/>
                <a:gd name="T37" fmla="*/ 3040 h 3060"/>
                <a:gd name="T38" fmla="*/ 824 w 1093"/>
                <a:gd name="T39" fmla="*/ 3054 h 3060"/>
                <a:gd name="T40" fmla="*/ 766 w 1093"/>
                <a:gd name="T41" fmla="*/ 3060 h 3060"/>
                <a:gd name="T42" fmla="*/ 110 w 1093"/>
                <a:gd name="T43" fmla="*/ 3060 h 3060"/>
                <a:gd name="T44" fmla="*/ 74 w 1093"/>
                <a:gd name="T45" fmla="*/ 3054 h 3060"/>
                <a:gd name="T46" fmla="*/ 44 w 1093"/>
                <a:gd name="T47" fmla="*/ 3038 h 3060"/>
                <a:gd name="T48" fmla="*/ 22 w 1093"/>
                <a:gd name="T49" fmla="*/ 3014 h 3060"/>
                <a:gd name="T50" fmla="*/ 6 w 1093"/>
                <a:gd name="T51" fmla="*/ 2984 h 3060"/>
                <a:gd name="T52" fmla="*/ 0 w 1093"/>
                <a:gd name="T53" fmla="*/ 2950 h 3060"/>
                <a:gd name="T54" fmla="*/ 6 w 1093"/>
                <a:gd name="T55" fmla="*/ 2917 h 3060"/>
                <a:gd name="T56" fmla="*/ 22 w 1093"/>
                <a:gd name="T57" fmla="*/ 2887 h 3060"/>
                <a:gd name="T58" fmla="*/ 44 w 1093"/>
                <a:gd name="T59" fmla="*/ 2863 h 3060"/>
                <a:gd name="T60" fmla="*/ 74 w 1093"/>
                <a:gd name="T61" fmla="*/ 2847 h 3060"/>
                <a:gd name="T62" fmla="*/ 110 w 1093"/>
                <a:gd name="T63" fmla="*/ 2841 h 3060"/>
                <a:gd name="T64" fmla="*/ 766 w 1093"/>
                <a:gd name="T65" fmla="*/ 2841 h 3060"/>
                <a:gd name="T66" fmla="*/ 800 w 1093"/>
                <a:gd name="T67" fmla="*/ 2835 h 3060"/>
                <a:gd name="T68" fmla="*/ 830 w 1093"/>
                <a:gd name="T69" fmla="*/ 2821 h 3060"/>
                <a:gd name="T70" fmla="*/ 854 w 1093"/>
                <a:gd name="T71" fmla="*/ 2797 h 3060"/>
                <a:gd name="T72" fmla="*/ 870 w 1093"/>
                <a:gd name="T73" fmla="*/ 2767 h 3060"/>
                <a:gd name="T74" fmla="*/ 876 w 1093"/>
                <a:gd name="T75" fmla="*/ 2733 h 3060"/>
                <a:gd name="T76" fmla="*/ 876 w 1093"/>
                <a:gd name="T77" fmla="*/ 329 h 3060"/>
                <a:gd name="T78" fmla="*/ 870 w 1093"/>
                <a:gd name="T79" fmla="*/ 293 h 3060"/>
                <a:gd name="T80" fmla="*/ 854 w 1093"/>
                <a:gd name="T81" fmla="*/ 263 h 3060"/>
                <a:gd name="T82" fmla="*/ 830 w 1093"/>
                <a:gd name="T83" fmla="*/ 239 h 3060"/>
                <a:gd name="T84" fmla="*/ 800 w 1093"/>
                <a:gd name="T85" fmla="*/ 226 h 3060"/>
                <a:gd name="T86" fmla="*/ 766 w 1093"/>
                <a:gd name="T87" fmla="*/ 220 h 3060"/>
                <a:gd name="T88" fmla="*/ 110 w 1093"/>
                <a:gd name="T89" fmla="*/ 220 h 3060"/>
                <a:gd name="T90" fmla="*/ 74 w 1093"/>
                <a:gd name="T91" fmla="*/ 214 h 3060"/>
                <a:gd name="T92" fmla="*/ 44 w 1093"/>
                <a:gd name="T93" fmla="*/ 198 h 3060"/>
                <a:gd name="T94" fmla="*/ 22 w 1093"/>
                <a:gd name="T95" fmla="*/ 174 h 3060"/>
                <a:gd name="T96" fmla="*/ 6 w 1093"/>
                <a:gd name="T97" fmla="*/ 144 h 3060"/>
                <a:gd name="T98" fmla="*/ 0 w 1093"/>
                <a:gd name="T99" fmla="*/ 110 h 3060"/>
                <a:gd name="T100" fmla="*/ 6 w 1093"/>
                <a:gd name="T101" fmla="*/ 76 h 3060"/>
                <a:gd name="T102" fmla="*/ 22 w 1093"/>
                <a:gd name="T103" fmla="*/ 46 h 3060"/>
                <a:gd name="T104" fmla="*/ 44 w 1093"/>
                <a:gd name="T105" fmla="*/ 22 h 3060"/>
                <a:gd name="T106" fmla="*/ 74 w 1093"/>
                <a:gd name="T107" fmla="*/ 6 h 3060"/>
                <a:gd name="T108" fmla="*/ 110 w 1093"/>
                <a:gd name="T109" fmla="*/ 0 h 3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93" h="3060">
                  <a:moveTo>
                    <a:pt x="110" y="0"/>
                  </a:moveTo>
                  <a:lnTo>
                    <a:pt x="766" y="0"/>
                  </a:lnTo>
                  <a:lnTo>
                    <a:pt x="824" y="6"/>
                  </a:lnTo>
                  <a:lnTo>
                    <a:pt x="880" y="20"/>
                  </a:lnTo>
                  <a:lnTo>
                    <a:pt x="931" y="46"/>
                  </a:lnTo>
                  <a:lnTo>
                    <a:pt x="977" y="78"/>
                  </a:lnTo>
                  <a:lnTo>
                    <a:pt x="1015" y="118"/>
                  </a:lnTo>
                  <a:lnTo>
                    <a:pt x="1049" y="164"/>
                  </a:lnTo>
                  <a:lnTo>
                    <a:pt x="1073" y="214"/>
                  </a:lnTo>
                  <a:lnTo>
                    <a:pt x="1087" y="269"/>
                  </a:lnTo>
                  <a:lnTo>
                    <a:pt x="1093" y="329"/>
                  </a:lnTo>
                  <a:lnTo>
                    <a:pt x="1093" y="2731"/>
                  </a:lnTo>
                  <a:lnTo>
                    <a:pt x="1087" y="2791"/>
                  </a:lnTo>
                  <a:lnTo>
                    <a:pt x="1073" y="2847"/>
                  </a:lnTo>
                  <a:lnTo>
                    <a:pt x="1049" y="2897"/>
                  </a:lnTo>
                  <a:lnTo>
                    <a:pt x="1015" y="2942"/>
                  </a:lnTo>
                  <a:lnTo>
                    <a:pt x="977" y="2982"/>
                  </a:lnTo>
                  <a:lnTo>
                    <a:pt x="931" y="3014"/>
                  </a:lnTo>
                  <a:lnTo>
                    <a:pt x="880" y="3040"/>
                  </a:lnTo>
                  <a:lnTo>
                    <a:pt x="824" y="3054"/>
                  </a:lnTo>
                  <a:lnTo>
                    <a:pt x="766" y="3060"/>
                  </a:lnTo>
                  <a:lnTo>
                    <a:pt x="110" y="3060"/>
                  </a:lnTo>
                  <a:lnTo>
                    <a:pt x="74" y="3054"/>
                  </a:lnTo>
                  <a:lnTo>
                    <a:pt x="44" y="3038"/>
                  </a:lnTo>
                  <a:lnTo>
                    <a:pt x="22" y="3014"/>
                  </a:lnTo>
                  <a:lnTo>
                    <a:pt x="6" y="2984"/>
                  </a:lnTo>
                  <a:lnTo>
                    <a:pt x="0" y="2950"/>
                  </a:lnTo>
                  <a:lnTo>
                    <a:pt x="6" y="2917"/>
                  </a:lnTo>
                  <a:lnTo>
                    <a:pt x="22" y="2887"/>
                  </a:lnTo>
                  <a:lnTo>
                    <a:pt x="44" y="2863"/>
                  </a:lnTo>
                  <a:lnTo>
                    <a:pt x="74" y="2847"/>
                  </a:lnTo>
                  <a:lnTo>
                    <a:pt x="110" y="2841"/>
                  </a:lnTo>
                  <a:lnTo>
                    <a:pt x="766" y="2841"/>
                  </a:lnTo>
                  <a:lnTo>
                    <a:pt x="800" y="2835"/>
                  </a:lnTo>
                  <a:lnTo>
                    <a:pt x="830" y="2821"/>
                  </a:lnTo>
                  <a:lnTo>
                    <a:pt x="854" y="2797"/>
                  </a:lnTo>
                  <a:lnTo>
                    <a:pt x="870" y="2767"/>
                  </a:lnTo>
                  <a:lnTo>
                    <a:pt x="876" y="2733"/>
                  </a:lnTo>
                  <a:lnTo>
                    <a:pt x="876" y="329"/>
                  </a:lnTo>
                  <a:lnTo>
                    <a:pt x="870" y="293"/>
                  </a:lnTo>
                  <a:lnTo>
                    <a:pt x="854" y="263"/>
                  </a:lnTo>
                  <a:lnTo>
                    <a:pt x="830" y="239"/>
                  </a:lnTo>
                  <a:lnTo>
                    <a:pt x="800" y="226"/>
                  </a:lnTo>
                  <a:lnTo>
                    <a:pt x="766" y="220"/>
                  </a:lnTo>
                  <a:lnTo>
                    <a:pt x="110" y="220"/>
                  </a:lnTo>
                  <a:lnTo>
                    <a:pt x="74" y="214"/>
                  </a:lnTo>
                  <a:lnTo>
                    <a:pt x="44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377699" y="3253258"/>
            <a:ext cx="415522" cy="368142"/>
            <a:chOff x="13822363" y="3694113"/>
            <a:chExt cx="5207000" cy="4613275"/>
          </a:xfrm>
          <a:solidFill>
            <a:schemeClr val="bg1"/>
          </a:solidFill>
        </p:grpSpPr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13822363" y="3694113"/>
              <a:ext cx="5207000" cy="4613275"/>
            </a:xfrm>
            <a:custGeom>
              <a:avLst/>
              <a:gdLst>
                <a:gd name="T0" fmla="*/ 5921 w 6560"/>
                <a:gd name="T1" fmla="*/ 20 h 5812"/>
                <a:gd name="T2" fmla="*/ 6174 w 6560"/>
                <a:gd name="T3" fmla="*/ 125 h 5812"/>
                <a:gd name="T4" fmla="*/ 6375 w 6560"/>
                <a:gd name="T5" fmla="*/ 302 h 5812"/>
                <a:gd name="T6" fmla="*/ 6443 w 6560"/>
                <a:gd name="T7" fmla="*/ 430 h 5812"/>
                <a:gd name="T8" fmla="*/ 6415 w 6560"/>
                <a:gd name="T9" fmla="*/ 513 h 5812"/>
                <a:gd name="T10" fmla="*/ 6331 w 6560"/>
                <a:gd name="T11" fmla="*/ 553 h 5812"/>
                <a:gd name="T12" fmla="*/ 6248 w 6560"/>
                <a:gd name="T13" fmla="*/ 525 h 5812"/>
                <a:gd name="T14" fmla="*/ 6150 w 6560"/>
                <a:gd name="T15" fmla="*/ 408 h 5812"/>
                <a:gd name="T16" fmla="*/ 5957 w 6560"/>
                <a:gd name="T17" fmla="*/ 281 h 5812"/>
                <a:gd name="T18" fmla="*/ 5736 w 6560"/>
                <a:gd name="T19" fmla="*/ 237 h 5812"/>
                <a:gd name="T20" fmla="*/ 5515 w 6560"/>
                <a:gd name="T21" fmla="*/ 281 h 5812"/>
                <a:gd name="T22" fmla="*/ 5320 w 6560"/>
                <a:gd name="T23" fmla="*/ 408 h 5812"/>
                <a:gd name="T24" fmla="*/ 6150 w 6560"/>
                <a:gd name="T25" fmla="*/ 1238 h 5812"/>
                <a:gd name="T26" fmla="*/ 6277 w 6560"/>
                <a:gd name="T27" fmla="*/ 1049 h 5812"/>
                <a:gd name="T28" fmla="*/ 6323 w 6560"/>
                <a:gd name="T29" fmla="*/ 824 h 5812"/>
                <a:gd name="T30" fmla="*/ 6371 w 6560"/>
                <a:gd name="T31" fmla="*/ 728 h 5812"/>
                <a:gd name="T32" fmla="*/ 6478 w 6560"/>
                <a:gd name="T33" fmla="*/ 710 h 5812"/>
                <a:gd name="T34" fmla="*/ 6554 w 6560"/>
                <a:gd name="T35" fmla="*/ 786 h 5812"/>
                <a:gd name="T36" fmla="*/ 6538 w 6560"/>
                <a:gd name="T37" fmla="*/ 1009 h 5812"/>
                <a:gd name="T38" fmla="*/ 6435 w 6560"/>
                <a:gd name="T39" fmla="*/ 1261 h 5812"/>
                <a:gd name="T40" fmla="*/ 3430 w 6560"/>
                <a:gd name="T41" fmla="*/ 4294 h 5812"/>
                <a:gd name="T42" fmla="*/ 3347 w 6560"/>
                <a:gd name="T43" fmla="*/ 4328 h 5812"/>
                <a:gd name="T44" fmla="*/ 3263 w 6560"/>
                <a:gd name="T45" fmla="*/ 4294 h 5812"/>
                <a:gd name="T46" fmla="*/ 2967 w 6560"/>
                <a:gd name="T47" fmla="*/ 4318 h 5812"/>
                <a:gd name="T48" fmla="*/ 2937 w 6560"/>
                <a:gd name="T49" fmla="*/ 4443 h 5812"/>
                <a:gd name="T50" fmla="*/ 2994 w 6560"/>
                <a:gd name="T51" fmla="*/ 4563 h 5812"/>
                <a:gd name="T52" fmla="*/ 3028 w 6560"/>
                <a:gd name="T53" fmla="*/ 4646 h 5812"/>
                <a:gd name="T54" fmla="*/ 2994 w 6560"/>
                <a:gd name="T55" fmla="*/ 4730 h 5812"/>
                <a:gd name="T56" fmla="*/ 2282 w 6560"/>
                <a:gd name="T57" fmla="*/ 5412 h 5812"/>
                <a:gd name="T58" fmla="*/ 1904 w 6560"/>
                <a:gd name="T59" fmla="*/ 5633 h 5812"/>
                <a:gd name="T60" fmla="*/ 1494 w 6560"/>
                <a:gd name="T61" fmla="*/ 5766 h 5812"/>
                <a:gd name="T62" fmla="*/ 1064 w 6560"/>
                <a:gd name="T63" fmla="*/ 5812 h 5812"/>
                <a:gd name="T64" fmla="*/ 623 w 6560"/>
                <a:gd name="T65" fmla="*/ 5764 h 5812"/>
                <a:gd name="T66" fmla="*/ 197 w 6560"/>
                <a:gd name="T67" fmla="*/ 5617 h 5812"/>
                <a:gd name="T68" fmla="*/ 20 w 6560"/>
                <a:gd name="T69" fmla="*/ 5510 h 5812"/>
                <a:gd name="T70" fmla="*/ 0 w 6560"/>
                <a:gd name="T71" fmla="*/ 5432 h 5812"/>
                <a:gd name="T72" fmla="*/ 34 w 6560"/>
                <a:gd name="T73" fmla="*/ 5360 h 5812"/>
                <a:gd name="T74" fmla="*/ 1341 w 6560"/>
                <a:gd name="T75" fmla="*/ 4077 h 5812"/>
                <a:gd name="T76" fmla="*/ 1429 w 6560"/>
                <a:gd name="T77" fmla="*/ 4089 h 5812"/>
                <a:gd name="T78" fmla="*/ 1484 w 6560"/>
                <a:gd name="T79" fmla="*/ 4163 h 5812"/>
                <a:gd name="T80" fmla="*/ 1474 w 6560"/>
                <a:gd name="T81" fmla="*/ 4250 h 5812"/>
                <a:gd name="T82" fmla="*/ 446 w 6560"/>
                <a:gd name="T83" fmla="*/ 5466 h 5812"/>
                <a:gd name="T84" fmla="*/ 844 w 6560"/>
                <a:gd name="T85" fmla="*/ 5561 h 5812"/>
                <a:gd name="T86" fmla="*/ 1250 w 6560"/>
                <a:gd name="T87" fmla="*/ 5565 h 5812"/>
                <a:gd name="T88" fmla="*/ 1643 w 6560"/>
                <a:gd name="T89" fmla="*/ 5480 h 5812"/>
                <a:gd name="T90" fmla="*/ 2014 w 6560"/>
                <a:gd name="T91" fmla="*/ 5307 h 5812"/>
                <a:gd name="T92" fmla="*/ 2340 w 6560"/>
                <a:gd name="T93" fmla="*/ 5050 h 5812"/>
                <a:gd name="T94" fmla="*/ 2710 w 6560"/>
                <a:gd name="T95" fmla="*/ 4519 h 5812"/>
                <a:gd name="T96" fmla="*/ 2708 w 6560"/>
                <a:gd name="T97" fmla="*/ 4334 h 5812"/>
                <a:gd name="T98" fmla="*/ 2784 w 6560"/>
                <a:gd name="T99" fmla="*/ 4163 h 5812"/>
                <a:gd name="T100" fmla="*/ 2350 w 6560"/>
                <a:gd name="T101" fmla="*/ 3381 h 5812"/>
                <a:gd name="T102" fmla="*/ 1669 w 6560"/>
                <a:gd name="T103" fmla="*/ 4039 h 5812"/>
                <a:gd name="T104" fmla="*/ 1580 w 6560"/>
                <a:gd name="T105" fmla="*/ 4027 h 5812"/>
                <a:gd name="T106" fmla="*/ 1524 w 6560"/>
                <a:gd name="T107" fmla="*/ 3954 h 5812"/>
                <a:gd name="T108" fmla="*/ 1536 w 6560"/>
                <a:gd name="T109" fmla="*/ 3866 h 5812"/>
                <a:gd name="T110" fmla="*/ 5223 w 6560"/>
                <a:gd name="T111" fmla="*/ 179 h 5812"/>
                <a:gd name="T112" fmla="*/ 5464 w 6560"/>
                <a:gd name="T113" fmla="*/ 46 h 5812"/>
                <a:gd name="T114" fmla="*/ 5736 w 6560"/>
                <a:gd name="T115" fmla="*/ 0 h 5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0" h="5812">
                  <a:moveTo>
                    <a:pt x="5736" y="0"/>
                  </a:moveTo>
                  <a:lnTo>
                    <a:pt x="5830" y="6"/>
                  </a:lnTo>
                  <a:lnTo>
                    <a:pt x="5921" y="20"/>
                  </a:lnTo>
                  <a:lnTo>
                    <a:pt x="6009" y="46"/>
                  </a:lnTo>
                  <a:lnTo>
                    <a:pt x="6092" y="82"/>
                  </a:lnTo>
                  <a:lnTo>
                    <a:pt x="6174" y="125"/>
                  </a:lnTo>
                  <a:lnTo>
                    <a:pt x="6250" y="179"/>
                  </a:lnTo>
                  <a:lnTo>
                    <a:pt x="6319" y="241"/>
                  </a:lnTo>
                  <a:lnTo>
                    <a:pt x="6375" y="302"/>
                  </a:lnTo>
                  <a:lnTo>
                    <a:pt x="6425" y="370"/>
                  </a:lnTo>
                  <a:lnTo>
                    <a:pt x="6437" y="400"/>
                  </a:lnTo>
                  <a:lnTo>
                    <a:pt x="6443" y="430"/>
                  </a:lnTo>
                  <a:lnTo>
                    <a:pt x="6441" y="460"/>
                  </a:lnTo>
                  <a:lnTo>
                    <a:pt x="6431" y="487"/>
                  </a:lnTo>
                  <a:lnTo>
                    <a:pt x="6415" y="513"/>
                  </a:lnTo>
                  <a:lnTo>
                    <a:pt x="6391" y="535"/>
                  </a:lnTo>
                  <a:lnTo>
                    <a:pt x="6361" y="549"/>
                  </a:lnTo>
                  <a:lnTo>
                    <a:pt x="6331" y="553"/>
                  </a:lnTo>
                  <a:lnTo>
                    <a:pt x="6301" y="551"/>
                  </a:lnTo>
                  <a:lnTo>
                    <a:pt x="6274" y="541"/>
                  </a:lnTo>
                  <a:lnTo>
                    <a:pt x="6248" y="525"/>
                  </a:lnTo>
                  <a:lnTo>
                    <a:pt x="6226" y="501"/>
                  </a:lnTo>
                  <a:lnTo>
                    <a:pt x="6190" y="454"/>
                  </a:lnTo>
                  <a:lnTo>
                    <a:pt x="6150" y="408"/>
                  </a:lnTo>
                  <a:lnTo>
                    <a:pt x="6090" y="356"/>
                  </a:lnTo>
                  <a:lnTo>
                    <a:pt x="6027" y="314"/>
                  </a:lnTo>
                  <a:lnTo>
                    <a:pt x="5957" y="281"/>
                  </a:lnTo>
                  <a:lnTo>
                    <a:pt x="5886" y="257"/>
                  </a:lnTo>
                  <a:lnTo>
                    <a:pt x="5812" y="243"/>
                  </a:lnTo>
                  <a:lnTo>
                    <a:pt x="5736" y="237"/>
                  </a:lnTo>
                  <a:lnTo>
                    <a:pt x="5661" y="243"/>
                  </a:lnTo>
                  <a:lnTo>
                    <a:pt x="5587" y="257"/>
                  </a:lnTo>
                  <a:lnTo>
                    <a:pt x="5515" y="281"/>
                  </a:lnTo>
                  <a:lnTo>
                    <a:pt x="5446" y="314"/>
                  </a:lnTo>
                  <a:lnTo>
                    <a:pt x="5382" y="356"/>
                  </a:lnTo>
                  <a:lnTo>
                    <a:pt x="5320" y="408"/>
                  </a:lnTo>
                  <a:lnTo>
                    <a:pt x="2517" y="3213"/>
                  </a:lnTo>
                  <a:lnTo>
                    <a:pt x="3347" y="4043"/>
                  </a:lnTo>
                  <a:lnTo>
                    <a:pt x="6150" y="1238"/>
                  </a:lnTo>
                  <a:lnTo>
                    <a:pt x="6202" y="1180"/>
                  </a:lnTo>
                  <a:lnTo>
                    <a:pt x="6244" y="1116"/>
                  </a:lnTo>
                  <a:lnTo>
                    <a:pt x="6277" y="1049"/>
                  </a:lnTo>
                  <a:lnTo>
                    <a:pt x="6303" y="977"/>
                  </a:lnTo>
                  <a:lnTo>
                    <a:pt x="6317" y="901"/>
                  </a:lnTo>
                  <a:lnTo>
                    <a:pt x="6323" y="824"/>
                  </a:lnTo>
                  <a:lnTo>
                    <a:pt x="6329" y="786"/>
                  </a:lnTo>
                  <a:lnTo>
                    <a:pt x="6345" y="754"/>
                  </a:lnTo>
                  <a:lnTo>
                    <a:pt x="6371" y="728"/>
                  </a:lnTo>
                  <a:lnTo>
                    <a:pt x="6403" y="710"/>
                  </a:lnTo>
                  <a:lnTo>
                    <a:pt x="6441" y="704"/>
                  </a:lnTo>
                  <a:lnTo>
                    <a:pt x="6478" y="710"/>
                  </a:lnTo>
                  <a:lnTo>
                    <a:pt x="6510" y="728"/>
                  </a:lnTo>
                  <a:lnTo>
                    <a:pt x="6536" y="754"/>
                  </a:lnTo>
                  <a:lnTo>
                    <a:pt x="6554" y="786"/>
                  </a:lnTo>
                  <a:lnTo>
                    <a:pt x="6560" y="824"/>
                  </a:lnTo>
                  <a:lnTo>
                    <a:pt x="6554" y="917"/>
                  </a:lnTo>
                  <a:lnTo>
                    <a:pt x="6538" y="1009"/>
                  </a:lnTo>
                  <a:lnTo>
                    <a:pt x="6514" y="1096"/>
                  </a:lnTo>
                  <a:lnTo>
                    <a:pt x="6478" y="1180"/>
                  </a:lnTo>
                  <a:lnTo>
                    <a:pt x="6435" y="1261"/>
                  </a:lnTo>
                  <a:lnTo>
                    <a:pt x="6381" y="1337"/>
                  </a:lnTo>
                  <a:lnTo>
                    <a:pt x="6319" y="1407"/>
                  </a:lnTo>
                  <a:lnTo>
                    <a:pt x="3430" y="4294"/>
                  </a:lnTo>
                  <a:lnTo>
                    <a:pt x="3406" y="4314"/>
                  </a:lnTo>
                  <a:lnTo>
                    <a:pt x="3377" y="4324"/>
                  </a:lnTo>
                  <a:lnTo>
                    <a:pt x="3347" y="4328"/>
                  </a:lnTo>
                  <a:lnTo>
                    <a:pt x="3317" y="4324"/>
                  </a:lnTo>
                  <a:lnTo>
                    <a:pt x="3289" y="4314"/>
                  </a:lnTo>
                  <a:lnTo>
                    <a:pt x="3263" y="4294"/>
                  </a:lnTo>
                  <a:lnTo>
                    <a:pt x="3122" y="4153"/>
                  </a:lnTo>
                  <a:lnTo>
                    <a:pt x="2994" y="4282"/>
                  </a:lnTo>
                  <a:lnTo>
                    <a:pt x="2967" y="4318"/>
                  </a:lnTo>
                  <a:lnTo>
                    <a:pt x="2947" y="4358"/>
                  </a:lnTo>
                  <a:lnTo>
                    <a:pt x="2937" y="4399"/>
                  </a:lnTo>
                  <a:lnTo>
                    <a:pt x="2937" y="4443"/>
                  </a:lnTo>
                  <a:lnTo>
                    <a:pt x="2947" y="4487"/>
                  </a:lnTo>
                  <a:lnTo>
                    <a:pt x="2967" y="4527"/>
                  </a:lnTo>
                  <a:lnTo>
                    <a:pt x="2994" y="4563"/>
                  </a:lnTo>
                  <a:lnTo>
                    <a:pt x="3014" y="4588"/>
                  </a:lnTo>
                  <a:lnTo>
                    <a:pt x="3024" y="4616"/>
                  </a:lnTo>
                  <a:lnTo>
                    <a:pt x="3028" y="4646"/>
                  </a:lnTo>
                  <a:lnTo>
                    <a:pt x="3024" y="4676"/>
                  </a:lnTo>
                  <a:lnTo>
                    <a:pt x="3014" y="4706"/>
                  </a:lnTo>
                  <a:lnTo>
                    <a:pt x="2994" y="4730"/>
                  </a:lnTo>
                  <a:lnTo>
                    <a:pt x="2507" y="5217"/>
                  </a:lnTo>
                  <a:lnTo>
                    <a:pt x="2398" y="5319"/>
                  </a:lnTo>
                  <a:lnTo>
                    <a:pt x="2282" y="5412"/>
                  </a:lnTo>
                  <a:lnTo>
                    <a:pt x="2161" y="5496"/>
                  </a:lnTo>
                  <a:lnTo>
                    <a:pt x="2035" y="5569"/>
                  </a:lnTo>
                  <a:lnTo>
                    <a:pt x="1904" y="5633"/>
                  </a:lnTo>
                  <a:lnTo>
                    <a:pt x="1771" y="5687"/>
                  </a:lnTo>
                  <a:lnTo>
                    <a:pt x="1634" y="5733"/>
                  </a:lnTo>
                  <a:lnTo>
                    <a:pt x="1494" y="5766"/>
                  </a:lnTo>
                  <a:lnTo>
                    <a:pt x="1351" y="5792"/>
                  </a:lnTo>
                  <a:lnTo>
                    <a:pt x="1208" y="5808"/>
                  </a:lnTo>
                  <a:lnTo>
                    <a:pt x="1064" y="5812"/>
                  </a:lnTo>
                  <a:lnTo>
                    <a:pt x="917" y="5806"/>
                  </a:lnTo>
                  <a:lnTo>
                    <a:pt x="770" y="5790"/>
                  </a:lnTo>
                  <a:lnTo>
                    <a:pt x="623" y="5764"/>
                  </a:lnTo>
                  <a:lnTo>
                    <a:pt x="480" y="5727"/>
                  </a:lnTo>
                  <a:lnTo>
                    <a:pt x="336" y="5677"/>
                  </a:lnTo>
                  <a:lnTo>
                    <a:pt x="197" y="5617"/>
                  </a:lnTo>
                  <a:lnTo>
                    <a:pt x="60" y="5547"/>
                  </a:lnTo>
                  <a:lnTo>
                    <a:pt x="38" y="5532"/>
                  </a:lnTo>
                  <a:lnTo>
                    <a:pt x="20" y="5510"/>
                  </a:lnTo>
                  <a:lnTo>
                    <a:pt x="8" y="5486"/>
                  </a:lnTo>
                  <a:lnTo>
                    <a:pt x="2" y="5460"/>
                  </a:lnTo>
                  <a:lnTo>
                    <a:pt x="0" y="5432"/>
                  </a:lnTo>
                  <a:lnTo>
                    <a:pt x="6" y="5406"/>
                  </a:lnTo>
                  <a:lnTo>
                    <a:pt x="18" y="5382"/>
                  </a:lnTo>
                  <a:lnTo>
                    <a:pt x="34" y="5360"/>
                  </a:lnTo>
                  <a:lnTo>
                    <a:pt x="1287" y="4109"/>
                  </a:lnTo>
                  <a:lnTo>
                    <a:pt x="1311" y="4089"/>
                  </a:lnTo>
                  <a:lnTo>
                    <a:pt x="1341" y="4077"/>
                  </a:lnTo>
                  <a:lnTo>
                    <a:pt x="1371" y="4073"/>
                  </a:lnTo>
                  <a:lnTo>
                    <a:pt x="1401" y="4077"/>
                  </a:lnTo>
                  <a:lnTo>
                    <a:pt x="1429" y="4089"/>
                  </a:lnTo>
                  <a:lnTo>
                    <a:pt x="1454" y="4109"/>
                  </a:lnTo>
                  <a:lnTo>
                    <a:pt x="1474" y="4133"/>
                  </a:lnTo>
                  <a:lnTo>
                    <a:pt x="1484" y="4163"/>
                  </a:lnTo>
                  <a:lnTo>
                    <a:pt x="1488" y="4192"/>
                  </a:lnTo>
                  <a:lnTo>
                    <a:pt x="1484" y="4222"/>
                  </a:lnTo>
                  <a:lnTo>
                    <a:pt x="1474" y="4250"/>
                  </a:lnTo>
                  <a:lnTo>
                    <a:pt x="1454" y="4276"/>
                  </a:lnTo>
                  <a:lnTo>
                    <a:pt x="316" y="5412"/>
                  </a:lnTo>
                  <a:lnTo>
                    <a:pt x="446" y="5466"/>
                  </a:lnTo>
                  <a:lnTo>
                    <a:pt x="577" y="5508"/>
                  </a:lnTo>
                  <a:lnTo>
                    <a:pt x="710" y="5540"/>
                  </a:lnTo>
                  <a:lnTo>
                    <a:pt x="844" y="5561"/>
                  </a:lnTo>
                  <a:lnTo>
                    <a:pt x="979" y="5573"/>
                  </a:lnTo>
                  <a:lnTo>
                    <a:pt x="1114" y="5575"/>
                  </a:lnTo>
                  <a:lnTo>
                    <a:pt x="1250" y="5565"/>
                  </a:lnTo>
                  <a:lnTo>
                    <a:pt x="1383" y="5547"/>
                  </a:lnTo>
                  <a:lnTo>
                    <a:pt x="1514" y="5520"/>
                  </a:lnTo>
                  <a:lnTo>
                    <a:pt x="1643" y="5480"/>
                  </a:lnTo>
                  <a:lnTo>
                    <a:pt x="1771" y="5432"/>
                  </a:lnTo>
                  <a:lnTo>
                    <a:pt x="1894" y="5374"/>
                  </a:lnTo>
                  <a:lnTo>
                    <a:pt x="2014" y="5307"/>
                  </a:lnTo>
                  <a:lnTo>
                    <a:pt x="2127" y="5231"/>
                  </a:lnTo>
                  <a:lnTo>
                    <a:pt x="2236" y="5146"/>
                  </a:lnTo>
                  <a:lnTo>
                    <a:pt x="2340" y="5050"/>
                  </a:lnTo>
                  <a:lnTo>
                    <a:pt x="2754" y="4634"/>
                  </a:lnTo>
                  <a:lnTo>
                    <a:pt x="2728" y="4578"/>
                  </a:lnTo>
                  <a:lnTo>
                    <a:pt x="2710" y="4519"/>
                  </a:lnTo>
                  <a:lnTo>
                    <a:pt x="2700" y="4457"/>
                  </a:lnTo>
                  <a:lnTo>
                    <a:pt x="2700" y="4395"/>
                  </a:lnTo>
                  <a:lnTo>
                    <a:pt x="2708" y="4334"/>
                  </a:lnTo>
                  <a:lnTo>
                    <a:pt x="2726" y="4274"/>
                  </a:lnTo>
                  <a:lnTo>
                    <a:pt x="2750" y="4218"/>
                  </a:lnTo>
                  <a:lnTo>
                    <a:pt x="2784" y="4163"/>
                  </a:lnTo>
                  <a:lnTo>
                    <a:pt x="2827" y="4115"/>
                  </a:lnTo>
                  <a:lnTo>
                    <a:pt x="2955" y="3985"/>
                  </a:lnTo>
                  <a:lnTo>
                    <a:pt x="2350" y="3381"/>
                  </a:lnTo>
                  <a:lnTo>
                    <a:pt x="1723" y="4007"/>
                  </a:lnTo>
                  <a:lnTo>
                    <a:pt x="1697" y="4027"/>
                  </a:lnTo>
                  <a:lnTo>
                    <a:pt x="1669" y="4039"/>
                  </a:lnTo>
                  <a:lnTo>
                    <a:pt x="1640" y="4041"/>
                  </a:lnTo>
                  <a:lnTo>
                    <a:pt x="1610" y="4039"/>
                  </a:lnTo>
                  <a:lnTo>
                    <a:pt x="1580" y="4027"/>
                  </a:lnTo>
                  <a:lnTo>
                    <a:pt x="1556" y="4007"/>
                  </a:lnTo>
                  <a:lnTo>
                    <a:pt x="1536" y="3982"/>
                  </a:lnTo>
                  <a:lnTo>
                    <a:pt x="1524" y="3954"/>
                  </a:lnTo>
                  <a:lnTo>
                    <a:pt x="1520" y="3924"/>
                  </a:lnTo>
                  <a:lnTo>
                    <a:pt x="1524" y="3894"/>
                  </a:lnTo>
                  <a:lnTo>
                    <a:pt x="1536" y="3866"/>
                  </a:lnTo>
                  <a:lnTo>
                    <a:pt x="1556" y="3840"/>
                  </a:lnTo>
                  <a:lnTo>
                    <a:pt x="5153" y="241"/>
                  </a:lnTo>
                  <a:lnTo>
                    <a:pt x="5223" y="179"/>
                  </a:lnTo>
                  <a:lnTo>
                    <a:pt x="5299" y="125"/>
                  </a:lnTo>
                  <a:lnTo>
                    <a:pt x="5378" y="82"/>
                  </a:lnTo>
                  <a:lnTo>
                    <a:pt x="5464" y="46"/>
                  </a:lnTo>
                  <a:lnTo>
                    <a:pt x="5551" y="20"/>
                  </a:lnTo>
                  <a:lnTo>
                    <a:pt x="5643" y="6"/>
                  </a:lnTo>
                  <a:lnTo>
                    <a:pt x="57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22"/>
            <p:cNvSpPr>
              <a:spLocks/>
            </p:cNvSpPr>
            <p:nvPr/>
          </p:nvSpPr>
          <p:spPr bwMode="auto">
            <a:xfrm>
              <a:off x="14797088" y="7094538"/>
              <a:ext cx="496888" cy="498475"/>
            </a:xfrm>
            <a:custGeom>
              <a:avLst/>
              <a:gdLst>
                <a:gd name="T0" fmla="*/ 509 w 626"/>
                <a:gd name="T1" fmla="*/ 0 h 629"/>
                <a:gd name="T2" fmla="*/ 539 w 626"/>
                <a:gd name="T3" fmla="*/ 4 h 629"/>
                <a:gd name="T4" fmla="*/ 567 w 626"/>
                <a:gd name="T5" fmla="*/ 16 h 629"/>
                <a:gd name="T6" fmla="*/ 593 w 626"/>
                <a:gd name="T7" fmla="*/ 36 h 629"/>
                <a:gd name="T8" fmla="*/ 610 w 626"/>
                <a:gd name="T9" fmla="*/ 60 h 629"/>
                <a:gd name="T10" fmla="*/ 622 w 626"/>
                <a:gd name="T11" fmla="*/ 89 h 629"/>
                <a:gd name="T12" fmla="*/ 626 w 626"/>
                <a:gd name="T13" fmla="*/ 119 h 629"/>
                <a:gd name="T14" fmla="*/ 622 w 626"/>
                <a:gd name="T15" fmla="*/ 149 h 629"/>
                <a:gd name="T16" fmla="*/ 610 w 626"/>
                <a:gd name="T17" fmla="*/ 177 h 629"/>
                <a:gd name="T18" fmla="*/ 593 w 626"/>
                <a:gd name="T19" fmla="*/ 203 h 629"/>
                <a:gd name="T20" fmla="*/ 201 w 626"/>
                <a:gd name="T21" fmla="*/ 593 h 629"/>
                <a:gd name="T22" fmla="*/ 175 w 626"/>
                <a:gd name="T23" fmla="*/ 613 h 629"/>
                <a:gd name="T24" fmla="*/ 147 w 626"/>
                <a:gd name="T25" fmla="*/ 625 h 629"/>
                <a:gd name="T26" fmla="*/ 117 w 626"/>
                <a:gd name="T27" fmla="*/ 629 h 629"/>
                <a:gd name="T28" fmla="*/ 87 w 626"/>
                <a:gd name="T29" fmla="*/ 625 h 629"/>
                <a:gd name="T30" fmla="*/ 59 w 626"/>
                <a:gd name="T31" fmla="*/ 613 h 629"/>
                <a:gd name="T32" fmla="*/ 33 w 626"/>
                <a:gd name="T33" fmla="*/ 593 h 629"/>
                <a:gd name="T34" fmla="*/ 14 w 626"/>
                <a:gd name="T35" fmla="*/ 569 h 629"/>
                <a:gd name="T36" fmla="*/ 2 w 626"/>
                <a:gd name="T37" fmla="*/ 539 h 629"/>
                <a:gd name="T38" fmla="*/ 0 w 626"/>
                <a:gd name="T39" fmla="*/ 509 h 629"/>
                <a:gd name="T40" fmla="*/ 2 w 626"/>
                <a:gd name="T41" fmla="*/ 479 h 629"/>
                <a:gd name="T42" fmla="*/ 14 w 626"/>
                <a:gd name="T43" fmla="*/ 452 h 629"/>
                <a:gd name="T44" fmla="*/ 33 w 626"/>
                <a:gd name="T45" fmla="*/ 426 h 629"/>
                <a:gd name="T46" fmla="*/ 423 w 626"/>
                <a:gd name="T47" fmla="*/ 36 h 629"/>
                <a:gd name="T48" fmla="*/ 449 w 626"/>
                <a:gd name="T49" fmla="*/ 16 h 629"/>
                <a:gd name="T50" fmla="*/ 477 w 626"/>
                <a:gd name="T51" fmla="*/ 4 h 629"/>
                <a:gd name="T52" fmla="*/ 509 w 626"/>
                <a:gd name="T53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6" h="629">
                  <a:moveTo>
                    <a:pt x="509" y="0"/>
                  </a:moveTo>
                  <a:lnTo>
                    <a:pt x="539" y="4"/>
                  </a:lnTo>
                  <a:lnTo>
                    <a:pt x="567" y="16"/>
                  </a:lnTo>
                  <a:lnTo>
                    <a:pt x="593" y="36"/>
                  </a:lnTo>
                  <a:lnTo>
                    <a:pt x="610" y="60"/>
                  </a:lnTo>
                  <a:lnTo>
                    <a:pt x="622" y="89"/>
                  </a:lnTo>
                  <a:lnTo>
                    <a:pt x="626" y="119"/>
                  </a:lnTo>
                  <a:lnTo>
                    <a:pt x="622" y="149"/>
                  </a:lnTo>
                  <a:lnTo>
                    <a:pt x="610" y="177"/>
                  </a:lnTo>
                  <a:lnTo>
                    <a:pt x="593" y="203"/>
                  </a:lnTo>
                  <a:lnTo>
                    <a:pt x="201" y="593"/>
                  </a:lnTo>
                  <a:lnTo>
                    <a:pt x="175" y="613"/>
                  </a:lnTo>
                  <a:lnTo>
                    <a:pt x="147" y="625"/>
                  </a:lnTo>
                  <a:lnTo>
                    <a:pt x="117" y="629"/>
                  </a:lnTo>
                  <a:lnTo>
                    <a:pt x="87" y="625"/>
                  </a:lnTo>
                  <a:lnTo>
                    <a:pt x="59" y="613"/>
                  </a:lnTo>
                  <a:lnTo>
                    <a:pt x="33" y="593"/>
                  </a:lnTo>
                  <a:lnTo>
                    <a:pt x="14" y="569"/>
                  </a:lnTo>
                  <a:lnTo>
                    <a:pt x="2" y="539"/>
                  </a:lnTo>
                  <a:lnTo>
                    <a:pt x="0" y="509"/>
                  </a:lnTo>
                  <a:lnTo>
                    <a:pt x="2" y="479"/>
                  </a:lnTo>
                  <a:lnTo>
                    <a:pt x="14" y="452"/>
                  </a:lnTo>
                  <a:lnTo>
                    <a:pt x="33" y="426"/>
                  </a:lnTo>
                  <a:lnTo>
                    <a:pt x="423" y="36"/>
                  </a:lnTo>
                  <a:lnTo>
                    <a:pt x="449" y="16"/>
                  </a:lnTo>
                  <a:lnTo>
                    <a:pt x="477" y="4"/>
                  </a:lnTo>
                  <a:lnTo>
                    <a:pt x="5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44924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692">
            <a:extLst>
              <a:ext uri="{FF2B5EF4-FFF2-40B4-BE49-F238E27FC236}">
                <a16:creationId xmlns:a16="http://schemas.microsoft.com/office/drawing/2014/main" id="{A152560F-1D92-494E-A012-4A2638ECEC9D}"/>
              </a:ext>
            </a:extLst>
          </p:cNvPr>
          <p:cNvSpPr/>
          <p:nvPr/>
        </p:nvSpPr>
        <p:spPr>
          <a:xfrm>
            <a:off x="5590356" y="3573016"/>
            <a:ext cx="4580927" cy="2207129"/>
          </a:xfrm>
          <a:prstGeom prst="roundRect">
            <a:avLst>
              <a:gd name="adj" fmla="val 399"/>
            </a:avLst>
          </a:prstGeom>
          <a:solidFill>
            <a:srgbClr val="F6F6F6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1B63557-7B72-4AA0-8D9E-06F5D7A794F9}"/>
              </a:ext>
            </a:extLst>
          </p:cNvPr>
          <p:cNvSpPr/>
          <p:nvPr/>
        </p:nvSpPr>
        <p:spPr>
          <a:xfrm>
            <a:off x="6524001" y="1506536"/>
            <a:ext cx="3016777" cy="1484137"/>
          </a:xfrm>
          <a:prstGeom prst="roundRect">
            <a:avLst>
              <a:gd name="adj" fmla="val 13963"/>
            </a:avLst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189E57-3612-4B76-B52E-E69356E40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– Architecture Walkthroug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0D8AD2-9645-43C2-B425-09858E438B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114" y="1865519"/>
            <a:ext cx="603250" cy="7239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839B891-582F-4930-B749-7EE4B9A093FD}"/>
              </a:ext>
            </a:extLst>
          </p:cNvPr>
          <p:cNvSpPr txBox="1"/>
          <p:nvPr/>
        </p:nvSpPr>
        <p:spPr>
          <a:xfrm>
            <a:off x="6978003" y="2590495"/>
            <a:ext cx="9987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Arial"/>
                <a:cs typeface="Arial"/>
              </a:rPr>
              <a:t>Amazon EC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9F6281-95EB-40C0-A63F-6A934B59B8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758" y="1220617"/>
            <a:ext cx="530056" cy="64490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D1742DB-2119-49EC-B96A-195FB0041667}"/>
              </a:ext>
            </a:extLst>
          </p:cNvPr>
          <p:cNvSpPr txBox="1"/>
          <p:nvPr/>
        </p:nvSpPr>
        <p:spPr>
          <a:xfrm>
            <a:off x="6264509" y="1901177"/>
            <a:ext cx="643781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00" b="1" dirty="0"/>
              <a:t>Amazon VPC*</a:t>
            </a:r>
            <a:endParaRPr lang="en-US" b="1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91E69E9-F0BF-4BBA-A55C-2BF7704E2B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037" y="1895900"/>
            <a:ext cx="543291" cy="6519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D1B1055-246E-4610-A1F0-A5EFBA48319E}"/>
              </a:ext>
            </a:extLst>
          </p:cNvPr>
          <p:cNvSpPr txBox="1"/>
          <p:nvPr/>
        </p:nvSpPr>
        <p:spPr>
          <a:xfrm>
            <a:off x="8054664" y="2571930"/>
            <a:ext cx="1128037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00" b="1" dirty="0"/>
              <a:t>Amazon ES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BDC112F-F503-4AF3-9C16-7D5704BCB611}"/>
              </a:ext>
            </a:extLst>
          </p:cNvPr>
          <p:cNvCxnSpPr>
            <a:cxnSpLocks/>
            <a:stCxn id="55" idx="3"/>
          </p:cNvCxnSpPr>
          <p:nvPr/>
        </p:nvCxnSpPr>
        <p:spPr>
          <a:xfrm flipV="1">
            <a:off x="3574430" y="2409028"/>
            <a:ext cx="2969636" cy="1556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5E34CC47-DED0-40AA-A8B3-75D56EC7E38E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7880820" y="2948402"/>
            <a:ext cx="95968" cy="6246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B106706-1D28-4890-8EAC-54E553C4AC4D}"/>
              </a:ext>
            </a:extLst>
          </p:cNvPr>
          <p:cNvCxnSpPr>
            <a:cxnSpLocks/>
            <a:stCxn id="55" idx="3"/>
            <a:endCxn id="30" idx="1"/>
          </p:cNvCxnSpPr>
          <p:nvPr/>
        </p:nvCxnSpPr>
        <p:spPr>
          <a:xfrm>
            <a:off x="3574430" y="3965090"/>
            <a:ext cx="2015926" cy="7114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hape 323">
            <a:extLst>
              <a:ext uri="{FF2B5EF4-FFF2-40B4-BE49-F238E27FC236}">
                <a16:creationId xmlns:a16="http://schemas.microsoft.com/office/drawing/2014/main" id="{F38D45A4-29BD-4822-908A-FE6A397FA6AE}"/>
              </a:ext>
            </a:extLst>
          </p:cNvPr>
          <p:cNvSpPr txBox="1"/>
          <p:nvPr/>
        </p:nvSpPr>
        <p:spPr>
          <a:xfrm>
            <a:off x="6334278" y="4833919"/>
            <a:ext cx="752400" cy="250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25000"/>
              <a:buFont typeface="Open Sans"/>
              <a:buNone/>
            </a:pPr>
            <a:r>
              <a:rPr lang="en-US" sz="700" b="1" i="0" u="none" strike="noStrike" cap="none">
                <a:solidFill>
                  <a:srgbClr val="808080"/>
                </a:solidFill>
                <a:latin typeface="Open Sans"/>
                <a:ea typeface="Open Sans"/>
                <a:cs typeface="Open Sans"/>
                <a:sym typeface="Open Sans"/>
              </a:rPr>
              <a:t>Cloud Load Balancing</a:t>
            </a:r>
          </a:p>
        </p:txBody>
      </p:sp>
      <p:pic>
        <p:nvPicPr>
          <p:cNvPr id="45" name="Shape 343" descr="Cloud-Load-Balancing_256px.png">
            <a:extLst>
              <a:ext uri="{FF2B5EF4-FFF2-40B4-BE49-F238E27FC236}">
                <a16:creationId xmlns:a16="http://schemas.microsoft.com/office/drawing/2014/main" id="{8976562F-A210-4278-86D5-B254ABE0456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t="5092" b="5092"/>
          <a:stretch/>
        </p:blipFill>
        <p:spPr>
          <a:xfrm>
            <a:off x="6447603" y="4333137"/>
            <a:ext cx="530400" cy="476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Shape 693">
            <a:extLst>
              <a:ext uri="{FF2B5EF4-FFF2-40B4-BE49-F238E27FC236}">
                <a16:creationId xmlns:a16="http://schemas.microsoft.com/office/drawing/2014/main" id="{5536345E-BB63-40B1-9EA7-9F670BEE1EB6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874822" y="3736555"/>
            <a:ext cx="1772425" cy="23158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grpSp>
        <p:nvGrpSpPr>
          <p:cNvPr id="48" name="Shape 660">
            <a:extLst>
              <a:ext uri="{FF2B5EF4-FFF2-40B4-BE49-F238E27FC236}">
                <a16:creationId xmlns:a16="http://schemas.microsoft.com/office/drawing/2014/main" id="{8D7B645A-D686-4628-AE7D-D00424056CD6}"/>
              </a:ext>
            </a:extLst>
          </p:cNvPr>
          <p:cNvGrpSpPr/>
          <p:nvPr/>
        </p:nvGrpSpPr>
        <p:grpSpPr>
          <a:xfrm>
            <a:off x="7650099" y="4181022"/>
            <a:ext cx="1991845" cy="923562"/>
            <a:chOff x="2178036" y="1054763"/>
            <a:chExt cx="1146188" cy="637511"/>
          </a:xfrm>
        </p:grpSpPr>
        <p:sp>
          <p:nvSpPr>
            <p:cNvPr id="52" name="Shape 661">
              <a:extLst>
                <a:ext uri="{FF2B5EF4-FFF2-40B4-BE49-F238E27FC236}">
                  <a16:creationId xmlns:a16="http://schemas.microsoft.com/office/drawing/2014/main" id="{496F0F9A-4D0E-43E1-9BFF-55163D44592B}"/>
                </a:ext>
              </a:extLst>
            </p:cNvPr>
            <p:cNvSpPr/>
            <p:nvPr/>
          </p:nvSpPr>
          <p:spPr>
            <a:xfrm>
              <a:off x="2178036" y="1054763"/>
              <a:ext cx="1146188" cy="637511"/>
            </a:xfrm>
            <a:prstGeom prst="roundRect">
              <a:avLst>
                <a:gd name="adj" fmla="val 827"/>
              </a:avLst>
            </a:prstGeom>
            <a:solidFill>
              <a:srgbClr val="FCE4EC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9E9E9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Shape 662">
              <a:extLst>
                <a:ext uri="{FF2B5EF4-FFF2-40B4-BE49-F238E27FC236}">
                  <a16:creationId xmlns:a16="http://schemas.microsoft.com/office/drawing/2014/main" id="{F8D8E513-6636-4413-BDCF-7E1077CFDC86}"/>
                </a:ext>
              </a:extLst>
            </p:cNvPr>
            <p:cNvSpPr txBox="1"/>
            <p:nvPr/>
          </p:nvSpPr>
          <p:spPr>
            <a:xfrm>
              <a:off x="2178036" y="1054763"/>
              <a:ext cx="518051" cy="212808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6400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E9E9E"/>
                </a:buClr>
                <a:buSzPct val="25000"/>
                <a:buFont typeface="Roboto"/>
                <a:buNone/>
              </a:pPr>
              <a: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Kubernetes cluster</a:t>
              </a:r>
              <a:b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</a:br>
              <a:r>
                <a:rPr lang="en-US" sz="60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#FCE4EC</a:t>
              </a:r>
            </a:p>
          </p:txBody>
        </p:sp>
      </p:grpSp>
      <p:grpSp>
        <p:nvGrpSpPr>
          <p:cNvPr id="49" name="Shape 663">
            <a:extLst>
              <a:ext uri="{FF2B5EF4-FFF2-40B4-BE49-F238E27FC236}">
                <a16:creationId xmlns:a16="http://schemas.microsoft.com/office/drawing/2014/main" id="{B7F8758F-91C8-48E2-B415-03C92A3CB776}"/>
              </a:ext>
            </a:extLst>
          </p:cNvPr>
          <p:cNvGrpSpPr/>
          <p:nvPr/>
        </p:nvGrpSpPr>
        <p:grpSpPr>
          <a:xfrm>
            <a:off x="7737022" y="4593209"/>
            <a:ext cx="1810518" cy="420056"/>
            <a:chOff x="2178036" y="1054763"/>
            <a:chExt cx="1146188" cy="637511"/>
          </a:xfrm>
        </p:grpSpPr>
        <p:sp>
          <p:nvSpPr>
            <p:cNvPr id="50" name="Shape 664">
              <a:extLst>
                <a:ext uri="{FF2B5EF4-FFF2-40B4-BE49-F238E27FC236}">
                  <a16:creationId xmlns:a16="http://schemas.microsoft.com/office/drawing/2014/main" id="{CFE9B1FF-C781-4452-9112-84BCEFD0F8B4}"/>
                </a:ext>
              </a:extLst>
            </p:cNvPr>
            <p:cNvSpPr/>
            <p:nvPr/>
          </p:nvSpPr>
          <p:spPr>
            <a:xfrm>
              <a:off x="2178036" y="1054763"/>
              <a:ext cx="1146188" cy="637511"/>
            </a:xfrm>
            <a:prstGeom prst="roundRect">
              <a:avLst>
                <a:gd name="adj" fmla="val 827"/>
              </a:avLst>
            </a:prstGeom>
            <a:solidFill>
              <a:srgbClr val="E8F5E9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9E9E9E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Shape 665">
              <a:extLst>
                <a:ext uri="{FF2B5EF4-FFF2-40B4-BE49-F238E27FC236}">
                  <a16:creationId xmlns:a16="http://schemas.microsoft.com/office/drawing/2014/main" id="{984A34F7-5123-4728-AFA4-7DF0B4C4738E}"/>
                </a:ext>
              </a:extLst>
            </p:cNvPr>
            <p:cNvSpPr txBox="1"/>
            <p:nvPr/>
          </p:nvSpPr>
          <p:spPr>
            <a:xfrm>
              <a:off x="2178036" y="1054763"/>
              <a:ext cx="251270" cy="46789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64000" rIns="0" bIns="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E9E9E"/>
                </a:buClr>
                <a:buSzPct val="25000"/>
                <a:buFont typeface="Roboto"/>
                <a:buNone/>
              </a:pPr>
              <a: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pod</a:t>
              </a:r>
              <a:br>
                <a:rPr lang="en-US" sz="75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</a:br>
              <a:r>
                <a:rPr lang="en-US" sz="600" b="0" i="0" u="none" strike="noStrike" cap="none" dirty="0">
                  <a:solidFill>
                    <a:srgbClr val="9E9E9E"/>
                  </a:solidFill>
                  <a:latin typeface="Roboto"/>
                  <a:ea typeface="Roboto"/>
                  <a:cs typeface="Roboto"/>
                  <a:sym typeface="Roboto"/>
                </a:rPr>
                <a:t>#E8F5E9</a:t>
              </a:r>
            </a:p>
          </p:txBody>
        </p:sp>
      </p:grpSp>
      <p:sp>
        <p:nvSpPr>
          <p:cNvPr id="55" name="Shape 661">
            <a:extLst>
              <a:ext uri="{FF2B5EF4-FFF2-40B4-BE49-F238E27FC236}">
                <a16:creationId xmlns:a16="http://schemas.microsoft.com/office/drawing/2014/main" id="{3B365E58-189F-4D9D-BC83-5EE050447ABB}"/>
              </a:ext>
            </a:extLst>
          </p:cNvPr>
          <p:cNvSpPr/>
          <p:nvPr/>
        </p:nvSpPr>
        <p:spPr>
          <a:xfrm>
            <a:off x="1582585" y="3503309"/>
            <a:ext cx="1991845" cy="923562"/>
          </a:xfrm>
          <a:prstGeom prst="roundRect">
            <a:avLst>
              <a:gd name="adj" fmla="val 827"/>
            </a:avLst>
          </a:prstGeom>
          <a:solidFill>
            <a:srgbClr val="FCE4E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1400" b="0" i="0" u="none" strike="noStrike" cap="none" dirty="0">
                <a:solidFill>
                  <a:srgbClr val="9E9E9E"/>
                </a:solidFill>
                <a:latin typeface="Arial"/>
                <a:ea typeface="Arial"/>
                <a:cs typeface="Arial"/>
                <a:sym typeface="Arial"/>
              </a:rPr>
              <a:t>APIGEE Edge Cloud</a:t>
            </a:r>
            <a:endParaRPr sz="1400" b="0" i="0" u="none" strike="noStrike" cap="none" dirty="0">
              <a:solidFill>
                <a:srgbClr val="9E9E9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A67CD7-F2F1-45E8-A9C5-9E9A4D267C39}"/>
              </a:ext>
            </a:extLst>
          </p:cNvPr>
          <p:cNvSpPr txBox="1"/>
          <p:nvPr/>
        </p:nvSpPr>
        <p:spPr>
          <a:xfrm>
            <a:off x="9857861" y="2017771"/>
            <a:ext cx="13562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crosi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4DE5BCD-3DA3-45FB-B928-CA43A3853307}"/>
              </a:ext>
            </a:extLst>
          </p:cNvPr>
          <p:cNvSpPr txBox="1"/>
          <p:nvPr/>
        </p:nvSpPr>
        <p:spPr>
          <a:xfrm>
            <a:off x="9857861" y="6131655"/>
            <a:ext cx="23240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ckend Service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45EEAA1-D89E-4CA2-97C7-F671A69E111A}"/>
              </a:ext>
            </a:extLst>
          </p:cNvPr>
          <p:cNvCxnSpPr>
            <a:cxnSpLocks/>
            <a:stCxn id="55" idx="0"/>
            <a:endCxn id="17" idx="1"/>
          </p:cNvCxnSpPr>
          <p:nvPr/>
        </p:nvCxnSpPr>
        <p:spPr>
          <a:xfrm flipV="1">
            <a:off x="2578508" y="2248605"/>
            <a:ext cx="3945493" cy="125470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9713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9"/>
            <a:ext cx="10969943" cy="711081"/>
          </a:xfrm>
        </p:spPr>
        <p:txBody>
          <a:bodyPr/>
          <a:lstStyle/>
          <a:p>
            <a:r>
              <a:rPr lang="en-IN" b="1" dirty="0">
                <a:solidFill>
                  <a:schemeClr val="bg1"/>
                </a:solidFill>
              </a:rPr>
              <a:t>Conclusions</a:t>
            </a:r>
          </a:p>
        </p:txBody>
      </p:sp>
      <p:sp>
        <p:nvSpPr>
          <p:cNvPr id="19" name="Freeform 11"/>
          <p:cNvSpPr>
            <a:spLocks/>
          </p:cNvSpPr>
          <p:nvPr/>
        </p:nvSpPr>
        <p:spPr bwMode="auto">
          <a:xfrm>
            <a:off x="-2" y="1308699"/>
            <a:ext cx="8229602" cy="4630357"/>
          </a:xfrm>
          <a:custGeom>
            <a:avLst/>
            <a:gdLst>
              <a:gd name="T0" fmla="*/ 0 w 6334"/>
              <a:gd name="T1" fmla="*/ 0 h 3390"/>
              <a:gd name="T2" fmla="*/ 6334 w 6334"/>
              <a:gd name="T3" fmla="*/ 0 h 3390"/>
              <a:gd name="T4" fmla="*/ 6015 w 6334"/>
              <a:gd name="T5" fmla="*/ 2983 h 3390"/>
              <a:gd name="T6" fmla="*/ 6004 w 6334"/>
              <a:gd name="T7" fmla="*/ 3046 h 3390"/>
              <a:gd name="T8" fmla="*/ 5985 w 6334"/>
              <a:gd name="T9" fmla="*/ 3110 h 3390"/>
              <a:gd name="T10" fmla="*/ 5956 w 6334"/>
              <a:gd name="T11" fmla="*/ 3167 h 3390"/>
              <a:gd name="T12" fmla="*/ 5919 w 6334"/>
              <a:gd name="T13" fmla="*/ 3221 h 3390"/>
              <a:gd name="T14" fmla="*/ 5877 w 6334"/>
              <a:gd name="T15" fmla="*/ 3269 h 3390"/>
              <a:gd name="T16" fmla="*/ 5844 w 6334"/>
              <a:gd name="T17" fmla="*/ 3296 h 3390"/>
              <a:gd name="T18" fmla="*/ 5810 w 6334"/>
              <a:gd name="T19" fmla="*/ 3321 h 3390"/>
              <a:gd name="T20" fmla="*/ 5769 w 6334"/>
              <a:gd name="T21" fmla="*/ 3344 h 3390"/>
              <a:gd name="T22" fmla="*/ 5725 w 6334"/>
              <a:gd name="T23" fmla="*/ 3363 h 3390"/>
              <a:gd name="T24" fmla="*/ 5675 w 6334"/>
              <a:gd name="T25" fmla="*/ 3377 h 3390"/>
              <a:gd name="T26" fmla="*/ 5622 w 6334"/>
              <a:gd name="T27" fmla="*/ 3386 h 3390"/>
              <a:gd name="T28" fmla="*/ 5562 w 6334"/>
              <a:gd name="T29" fmla="*/ 3390 h 3390"/>
              <a:gd name="T30" fmla="*/ 0 w 6334"/>
              <a:gd name="T31" fmla="*/ 3390 h 3390"/>
              <a:gd name="T32" fmla="*/ 0 w 6334"/>
              <a:gd name="T33" fmla="*/ 0 h 3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34" h="3390">
                <a:moveTo>
                  <a:pt x="0" y="0"/>
                </a:moveTo>
                <a:lnTo>
                  <a:pt x="6334" y="0"/>
                </a:lnTo>
                <a:lnTo>
                  <a:pt x="6015" y="2983"/>
                </a:lnTo>
                <a:lnTo>
                  <a:pt x="6004" y="3046"/>
                </a:lnTo>
                <a:lnTo>
                  <a:pt x="5985" y="3110"/>
                </a:lnTo>
                <a:lnTo>
                  <a:pt x="5956" y="3167"/>
                </a:lnTo>
                <a:lnTo>
                  <a:pt x="5919" y="3221"/>
                </a:lnTo>
                <a:lnTo>
                  <a:pt x="5877" y="3269"/>
                </a:lnTo>
                <a:lnTo>
                  <a:pt x="5844" y="3296"/>
                </a:lnTo>
                <a:lnTo>
                  <a:pt x="5810" y="3321"/>
                </a:lnTo>
                <a:lnTo>
                  <a:pt x="5769" y="3344"/>
                </a:lnTo>
                <a:lnTo>
                  <a:pt x="5725" y="3363"/>
                </a:lnTo>
                <a:lnTo>
                  <a:pt x="5675" y="3377"/>
                </a:lnTo>
                <a:lnTo>
                  <a:pt x="5622" y="3386"/>
                </a:lnTo>
                <a:lnTo>
                  <a:pt x="5562" y="3390"/>
                </a:lnTo>
                <a:lnTo>
                  <a:pt x="0" y="339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2000">
                <a:schemeClr val="accent1"/>
              </a:gs>
              <a:gs pos="0">
                <a:schemeClr val="accent2"/>
              </a:gs>
            </a:gsLst>
            <a:lin ang="27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TextBox 20"/>
          <p:cNvSpPr txBox="1"/>
          <p:nvPr/>
        </p:nvSpPr>
        <p:spPr>
          <a:xfrm>
            <a:off x="333772" y="1942407"/>
            <a:ext cx="7128792" cy="30008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ing an IAM gateway to implement login solution, ensure consistent Authentication mechanis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veraging on existing services for Product Enquiry, reducing the need to develop duplicate services, hence reducing development turnarou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shboards which pull data from logs, provides insight to customer product preferences for better decision makin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614692" y="2746714"/>
            <a:ext cx="259228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’s next?</a:t>
            </a:r>
          </a:p>
        </p:txBody>
      </p:sp>
    </p:spTree>
    <p:extLst>
      <p:ext uri="{BB962C8B-B14F-4D97-AF65-F5344CB8AC3E}">
        <p14:creationId xmlns:p14="http://schemas.microsoft.com/office/powerpoint/2010/main" val="85396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edical Case Study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13392"/>
      </a:accent1>
      <a:accent2>
        <a:srgbClr val="E36E98"/>
      </a:accent2>
      <a:accent3>
        <a:srgbClr val="6C98FF"/>
      </a:accent3>
      <a:accent4>
        <a:srgbClr val="35B7C5"/>
      </a:accent4>
      <a:accent5>
        <a:srgbClr val="C1EBC7"/>
      </a:accent5>
      <a:accent6>
        <a:srgbClr val="35B7C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95</TotalTime>
  <Words>224</Words>
  <Application>Microsoft Office PowerPoint</Application>
  <PresentationFormat>Custom</PresentationFormat>
  <Paragraphs>52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Open Sans</vt:lpstr>
      <vt:lpstr>Open Sans Condensed</vt:lpstr>
      <vt:lpstr>Open Sans Condensed Light</vt:lpstr>
      <vt:lpstr>Roboto</vt:lpstr>
      <vt:lpstr>Arial</vt:lpstr>
      <vt:lpstr>Calibri</vt:lpstr>
      <vt:lpstr>Office Theme</vt:lpstr>
      <vt:lpstr>think-cell Slide</vt:lpstr>
      <vt:lpstr>PowerPoint Presentation</vt:lpstr>
      <vt:lpstr>AGENDA</vt:lpstr>
      <vt:lpstr>PowerPoint Presentation</vt:lpstr>
      <vt:lpstr>Value Proposition</vt:lpstr>
      <vt:lpstr>PowerPoint Presentation</vt:lpstr>
      <vt:lpstr>Use Case – Architecture Walkthrough</vt:lpstr>
      <vt:lpstr>Conclusions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M Efficient Frontier Curve for PowerPoint</dc:title>
  <dc:creator>Julian</dc:creator>
  <cp:lastModifiedBy>Tony Khuan Piew LOW</cp:lastModifiedBy>
  <cp:revision>145</cp:revision>
  <dcterms:created xsi:type="dcterms:W3CDTF">2013-09-12T13:05:01Z</dcterms:created>
  <dcterms:modified xsi:type="dcterms:W3CDTF">2018-08-30T23:50:01Z</dcterms:modified>
</cp:coreProperties>
</file>